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74" r:id="rId4"/>
    <p:sldMasterId id="2147483930" r:id="rId5"/>
    <p:sldMasterId id="2147483971" r:id="rId6"/>
    <p:sldMasterId id="2147483983" r:id="rId7"/>
  </p:sldMasterIdLst>
  <p:notesMasterIdLst>
    <p:notesMasterId r:id="rId34"/>
  </p:notesMasterIdLst>
  <p:handoutMasterIdLst>
    <p:handoutMasterId r:id="rId35"/>
  </p:handoutMasterIdLst>
  <p:sldIdLst>
    <p:sldId id="729" r:id="rId8"/>
    <p:sldId id="712" r:id="rId9"/>
    <p:sldId id="713" r:id="rId10"/>
    <p:sldId id="678" r:id="rId11"/>
    <p:sldId id="697" r:id="rId12"/>
    <p:sldId id="698" r:id="rId13"/>
    <p:sldId id="701" r:id="rId14"/>
    <p:sldId id="702" r:id="rId15"/>
    <p:sldId id="699" r:id="rId16"/>
    <p:sldId id="703" r:id="rId17"/>
    <p:sldId id="730" r:id="rId18"/>
    <p:sldId id="731" r:id="rId19"/>
    <p:sldId id="732" r:id="rId20"/>
    <p:sldId id="733" r:id="rId21"/>
    <p:sldId id="734" r:id="rId22"/>
    <p:sldId id="735" r:id="rId23"/>
    <p:sldId id="736" r:id="rId24"/>
    <p:sldId id="726" r:id="rId25"/>
    <p:sldId id="727" r:id="rId26"/>
    <p:sldId id="720" r:id="rId27"/>
    <p:sldId id="721" r:id="rId28"/>
    <p:sldId id="722" r:id="rId29"/>
    <p:sldId id="723" r:id="rId30"/>
    <p:sldId id="724" r:id="rId31"/>
    <p:sldId id="728" r:id="rId32"/>
    <p:sldId id="744" r:id="rId33"/>
  </p:sldIdLst>
  <p:sldSz cx="12192000" cy="6858000"/>
  <p:notesSz cx="6805613" cy="99441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iroutkova, Michaela {MWJC~Prague}" initials="JM{" lastIdx="6" clrIdx="0">
    <p:extLst>
      <p:ext uri="{19B8F6BF-5375-455C-9EA6-DF929625EA0E}">
        <p15:presenceInfo xmlns:p15="http://schemas.microsoft.com/office/powerpoint/2012/main" userId="Jiroutkova, Michaela {MWJC~Prague}" providerId="None"/>
      </p:ext>
    </p:extLst>
  </p:cmAuthor>
  <p:cmAuthor id="2" name="Novotna, Jana {MWJC~Prague}" initials="NJ{" lastIdx="28" clrIdx="1">
    <p:extLst>
      <p:ext uri="{19B8F6BF-5375-455C-9EA6-DF929625EA0E}">
        <p15:presenceInfo xmlns:p15="http://schemas.microsoft.com/office/powerpoint/2012/main" userId="Novotna, Jana {MWJC~Prague}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30065"/>
    <a:srgbClr val="FFFFFF"/>
    <a:srgbClr val="FFCCFF"/>
    <a:srgbClr val="959CA0"/>
    <a:srgbClr val="F4F5F5"/>
    <a:srgbClr val="CACED0"/>
    <a:srgbClr val="606B71"/>
    <a:srgbClr val="2B3A42"/>
    <a:srgbClr val="DA29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9E6D5C-44E2-4543-A9E5-23AB25AAE2AA}" v="8" dt="2019-05-28T10:57:19.2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2DE63D5-997A-4646-A377-4702673A728D}" styleName="Světlý styl 2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Světlý styl 2 – zvýraznění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030" autoAdjust="0"/>
    <p:restoredTop sz="88621" autoAdjust="0"/>
  </p:normalViewPr>
  <p:slideViewPr>
    <p:cSldViewPr snapToGrid="0">
      <p:cViewPr varScale="1">
        <p:scale>
          <a:sx n="77" d="100"/>
          <a:sy n="77" d="100"/>
        </p:scale>
        <p:origin x="725" y="5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920"/>
    </p:cViewPr>
  </p:sorterViewPr>
  <p:notesViewPr>
    <p:cSldViewPr snapToGrid="0">
      <p:cViewPr varScale="1">
        <p:scale>
          <a:sx n="98" d="100"/>
          <a:sy n="98" d="100"/>
        </p:scale>
        <p:origin x="354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notesMaster" Target="notesMasters/notesMaster1.xml"/><Relationship Id="rId55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ableStyles" Target="tableStyles.xml"/><Relationship Id="rId54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wokenna, Ola" userId="24fd04f5-1db1-4044-9d5a-a2564da48616" providerId="ADAL" clId="{069E6D5C-44E2-4543-A9E5-23AB25AAE2AA}"/>
    <pc:docChg chg="undo custSel addSld delSld modSld sldOrd modMainMaster">
      <pc:chgData name="Nwokenna, Ola" userId="24fd04f5-1db1-4044-9d5a-a2564da48616" providerId="ADAL" clId="{069E6D5C-44E2-4543-A9E5-23AB25AAE2AA}" dt="2019-05-28T12:58:58.522" v="50642" actId="207"/>
      <pc:docMkLst>
        <pc:docMk/>
      </pc:docMkLst>
      <pc:sldChg chg="modSp del">
        <pc:chgData name="Nwokenna, Ola" userId="24fd04f5-1db1-4044-9d5a-a2564da48616" providerId="ADAL" clId="{069E6D5C-44E2-4543-A9E5-23AB25AAE2AA}" dt="2019-05-28T10:56:42.354" v="1" actId="2696"/>
        <pc:sldMkLst>
          <pc:docMk/>
          <pc:sldMk cId="1399174465" sldId="620"/>
        </pc:sldMkLst>
        <pc:spChg chg="mod">
          <ac:chgData name="Nwokenna, Ola" userId="24fd04f5-1db1-4044-9d5a-a2564da48616" providerId="ADAL" clId="{069E6D5C-44E2-4543-A9E5-23AB25AAE2AA}" dt="2019-05-28T10:56:41.175" v="0" actId="1076"/>
          <ac:spMkLst>
            <pc:docMk/>
            <pc:sldMk cId="1399174465" sldId="620"/>
            <ac:spMk id="8" creationId="{154EE448-D8E9-4C28-AFD8-7EA90F8ADD8B}"/>
          </ac:spMkLst>
        </pc:spChg>
      </pc:sldChg>
      <pc:sldChg chg="addSp delSp modSp add del">
        <pc:chgData name="Nwokenna, Ola" userId="24fd04f5-1db1-4044-9d5a-a2564da48616" providerId="ADAL" clId="{069E6D5C-44E2-4543-A9E5-23AB25AAE2AA}" dt="2019-05-28T11:23:50.009" v="19285" actId="478"/>
        <pc:sldMkLst>
          <pc:docMk/>
          <pc:sldMk cId="223979715" sldId="632"/>
        </pc:sldMkLst>
        <pc:spChg chg="mod ord">
          <ac:chgData name="Nwokenna, Ola" userId="24fd04f5-1db1-4044-9d5a-a2564da48616" providerId="ADAL" clId="{069E6D5C-44E2-4543-A9E5-23AB25AAE2AA}" dt="2019-05-28T11:23:48.434" v="19249"/>
          <ac:spMkLst>
            <pc:docMk/>
            <pc:sldMk cId="223979715" sldId="632"/>
            <ac:spMk id="2" creationId="{A06263D5-7442-4CE4-9E5E-394B91A8AF1B}"/>
          </ac:spMkLst>
        </pc:spChg>
        <pc:spChg chg="del mod ord">
          <ac:chgData name="Nwokenna, Ola" userId="24fd04f5-1db1-4044-9d5a-a2564da48616" providerId="ADAL" clId="{069E6D5C-44E2-4543-A9E5-23AB25AAE2AA}" dt="2019-05-28T11:09:49.480" v="7333" actId="478"/>
          <ac:spMkLst>
            <pc:docMk/>
            <pc:sldMk cId="223979715" sldId="632"/>
            <ac:spMk id="3" creationId="{050D9F3D-BD2E-4EA9-9B16-919E5B481EF6}"/>
          </ac:spMkLst>
        </pc:spChg>
        <pc:spChg chg="mod ord">
          <ac:chgData name="Nwokenna, Ola" userId="24fd04f5-1db1-4044-9d5a-a2564da48616" providerId="ADAL" clId="{069E6D5C-44E2-4543-A9E5-23AB25AAE2AA}" dt="2019-05-28T11:23:48.439" v="19251"/>
          <ac:spMkLst>
            <pc:docMk/>
            <pc:sldMk cId="223979715" sldId="632"/>
            <ac:spMk id="4" creationId="{636F4C3A-09AA-4840-BA6B-FF42C3E99B85}"/>
          </ac:spMkLst>
        </pc:spChg>
        <pc:spChg chg="add del mod ord">
          <ac:chgData name="Nwokenna, Ola" userId="24fd04f5-1db1-4044-9d5a-a2564da48616" providerId="ADAL" clId="{069E6D5C-44E2-4543-A9E5-23AB25AAE2AA}" dt="2019-05-28T11:08:57.282" v="5155"/>
          <ac:spMkLst>
            <pc:docMk/>
            <pc:sldMk cId="223979715" sldId="632"/>
            <ac:spMk id="5" creationId="{2FDA73C5-7506-480E-AC17-A9C62241D3B6}"/>
          </ac:spMkLst>
        </pc:spChg>
        <pc:spChg chg="add mod ord">
          <ac:chgData name="Nwokenna, Ola" userId="24fd04f5-1db1-4044-9d5a-a2564da48616" providerId="ADAL" clId="{069E6D5C-44E2-4543-A9E5-23AB25AAE2AA}" dt="2019-05-28T11:23:48.428" v="19247"/>
          <ac:spMkLst>
            <pc:docMk/>
            <pc:sldMk cId="223979715" sldId="632"/>
            <ac:spMk id="6" creationId="{2DEE27F9-876A-49EF-87EB-537C1390095A}"/>
          </ac:spMkLst>
        </pc:spChg>
        <pc:spChg chg="add mod ord">
          <ac:chgData name="Nwokenna, Ola" userId="24fd04f5-1db1-4044-9d5a-a2564da48616" providerId="ADAL" clId="{069E6D5C-44E2-4543-A9E5-23AB25AAE2AA}" dt="2019-05-28T11:23:48.446" v="19256"/>
          <ac:spMkLst>
            <pc:docMk/>
            <pc:sldMk cId="223979715" sldId="632"/>
            <ac:spMk id="7" creationId="{DBE97010-1530-4347-B561-E54FE4F06C9A}"/>
          </ac:spMkLst>
        </pc:spChg>
        <pc:spChg chg="add del mod ord">
          <ac:chgData name="Nwokenna, Ola" userId="24fd04f5-1db1-4044-9d5a-a2564da48616" providerId="ADAL" clId="{069E6D5C-44E2-4543-A9E5-23AB25AAE2AA}" dt="2019-05-28T11:23:34.279" v="18582"/>
          <ac:spMkLst>
            <pc:docMk/>
            <pc:sldMk cId="223979715" sldId="632"/>
            <ac:spMk id="8" creationId="{B0AF295D-778D-4F3C-82F8-19E76ABB5F24}"/>
          </ac:spMkLst>
        </pc:spChg>
        <pc:spChg chg="add del mod ord">
          <ac:chgData name="Nwokenna, Ola" userId="24fd04f5-1db1-4044-9d5a-a2564da48616" providerId="ADAL" clId="{069E6D5C-44E2-4543-A9E5-23AB25AAE2AA}" dt="2019-05-28T11:08:41.683" v="4164"/>
          <ac:spMkLst>
            <pc:docMk/>
            <pc:sldMk cId="223979715" sldId="632"/>
            <ac:spMk id="9" creationId="{6C583CC2-B1C8-499E-B598-82825545B33F}"/>
          </ac:spMkLst>
        </pc:spChg>
        <pc:spChg chg="add del mod ord">
          <ac:chgData name="Nwokenna, Ola" userId="24fd04f5-1db1-4044-9d5a-a2564da48616" providerId="ADAL" clId="{069E6D5C-44E2-4543-A9E5-23AB25AAE2AA}" dt="2019-05-28T11:08:22.510" v="3863"/>
          <ac:spMkLst>
            <pc:docMk/>
            <pc:sldMk cId="223979715" sldId="632"/>
            <ac:spMk id="10" creationId="{356D0890-BFD9-4425-99E9-5694585CB0A6}"/>
          </ac:spMkLst>
        </pc:spChg>
        <pc:spChg chg="add del mod ord">
          <ac:chgData name="Nwokenna, Ola" userId="24fd04f5-1db1-4044-9d5a-a2564da48616" providerId="ADAL" clId="{069E6D5C-44E2-4543-A9E5-23AB25AAE2AA}" dt="2019-05-28T11:08:22.513" v="3865"/>
          <ac:spMkLst>
            <pc:docMk/>
            <pc:sldMk cId="223979715" sldId="632"/>
            <ac:spMk id="11" creationId="{F8597806-CA16-49C8-A47D-A3C089697176}"/>
          </ac:spMkLst>
        </pc:spChg>
        <pc:spChg chg="add mod ord">
          <ac:chgData name="Nwokenna, Ola" userId="24fd04f5-1db1-4044-9d5a-a2564da48616" providerId="ADAL" clId="{069E6D5C-44E2-4543-A9E5-23AB25AAE2AA}" dt="2019-05-28T11:23:48.448" v="19258"/>
          <ac:spMkLst>
            <pc:docMk/>
            <pc:sldMk cId="223979715" sldId="632"/>
            <ac:spMk id="12" creationId="{8EC2AC14-9928-471B-87EF-9613882090FF}"/>
          </ac:spMkLst>
        </pc:spChg>
        <pc:spChg chg="add del mod ord">
          <ac:chgData name="Nwokenna, Ola" userId="24fd04f5-1db1-4044-9d5a-a2564da48616" providerId="ADAL" clId="{069E6D5C-44E2-4543-A9E5-23AB25AAE2AA}" dt="2019-05-28T11:08:41.692" v="4166"/>
          <ac:spMkLst>
            <pc:docMk/>
            <pc:sldMk cId="223979715" sldId="632"/>
            <ac:spMk id="13" creationId="{F5B4FBE0-193A-405C-8516-16E4E984CA49}"/>
          </ac:spMkLst>
        </pc:spChg>
        <pc:spChg chg="add del mod ord">
          <ac:chgData name="Nwokenna, Ola" userId="24fd04f5-1db1-4044-9d5a-a2564da48616" providerId="ADAL" clId="{069E6D5C-44E2-4543-A9E5-23AB25AAE2AA}" dt="2019-05-28T11:08:41.696" v="4168"/>
          <ac:spMkLst>
            <pc:docMk/>
            <pc:sldMk cId="223979715" sldId="632"/>
            <ac:spMk id="14" creationId="{9D85D26F-BD8C-422A-BC03-1ADC54602AEB}"/>
          </ac:spMkLst>
        </pc:spChg>
        <pc:spChg chg="add del mod ord">
          <ac:chgData name="Nwokenna, Ola" userId="24fd04f5-1db1-4044-9d5a-a2564da48616" providerId="ADAL" clId="{069E6D5C-44E2-4543-A9E5-23AB25AAE2AA}" dt="2019-05-28T11:08:22.504" v="3861"/>
          <ac:spMkLst>
            <pc:docMk/>
            <pc:sldMk cId="223979715" sldId="632"/>
            <ac:spMk id="15" creationId="{0187B3FC-18A3-43B2-BAF3-E7D5F11A6BFB}"/>
          </ac:spMkLst>
        </pc:spChg>
        <pc:spChg chg="add del mod ord">
          <ac:chgData name="Nwokenna, Ola" userId="24fd04f5-1db1-4044-9d5a-a2564da48616" providerId="ADAL" clId="{069E6D5C-44E2-4543-A9E5-23AB25AAE2AA}" dt="2019-05-28T11:08:41.700" v="4170"/>
          <ac:spMkLst>
            <pc:docMk/>
            <pc:sldMk cId="223979715" sldId="632"/>
            <ac:spMk id="16" creationId="{AEDC41BD-9C0A-4849-A1A0-2DF955756AF5}"/>
          </ac:spMkLst>
        </pc:spChg>
        <pc:spChg chg="add del mod ord">
          <ac:chgData name="Nwokenna, Ola" userId="24fd04f5-1db1-4044-9d5a-a2564da48616" providerId="ADAL" clId="{069E6D5C-44E2-4543-A9E5-23AB25AAE2AA}" dt="2019-05-28T11:09:06.167" v="5942"/>
          <ac:spMkLst>
            <pc:docMk/>
            <pc:sldMk cId="223979715" sldId="632"/>
            <ac:spMk id="26" creationId="{FBC12816-2759-41EF-868E-12471AF2716A}"/>
          </ac:spMkLst>
        </pc:spChg>
        <pc:spChg chg="add mod ord">
          <ac:chgData name="Nwokenna, Ola" userId="24fd04f5-1db1-4044-9d5a-a2564da48616" providerId="ADAL" clId="{069E6D5C-44E2-4543-A9E5-23AB25AAE2AA}" dt="2019-05-28T11:23:48.452" v="19262"/>
          <ac:spMkLst>
            <pc:docMk/>
            <pc:sldMk cId="223979715" sldId="632"/>
            <ac:spMk id="27" creationId="{7CA5ACB6-79BF-468C-B0AF-2DAB44F6361A}"/>
          </ac:spMkLst>
        </pc:spChg>
        <pc:spChg chg="add mod ord">
          <ac:chgData name="Nwokenna, Ola" userId="24fd04f5-1db1-4044-9d5a-a2564da48616" providerId="ADAL" clId="{069E6D5C-44E2-4543-A9E5-23AB25AAE2AA}" dt="2019-05-28T11:23:48.454" v="19264"/>
          <ac:spMkLst>
            <pc:docMk/>
            <pc:sldMk cId="223979715" sldId="632"/>
            <ac:spMk id="29" creationId="{F1862B3C-55CB-4B84-8B78-972E4A46EB9E}"/>
          </ac:spMkLst>
        </pc:spChg>
        <pc:spChg chg="add mod ord">
          <ac:chgData name="Nwokenna, Ola" userId="24fd04f5-1db1-4044-9d5a-a2564da48616" providerId="ADAL" clId="{069E6D5C-44E2-4543-A9E5-23AB25AAE2AA}" dt="2019-05-28T11:23:48.456" v="19266"/>
          <ac:spMkLst>
            <pc:docMk/>
            <pc:sldMk cId="223979715" sldId="632"/>
            <ac:spMk id="31" creationId="{F150DC04-46A1-488B-9900-1B5BA21AB42B}"/>
          </ac:spMkLst>
        </pc:spChg>
        <pc:spChg chg="add del mod ord">
          <ac:chgData name="Nwokenna, Ola" userId="24fd04f5-1db1-4044-9d5a-a2564da48616" providerId="ADAL" clId="{069E6D5C-44E2-4543-A9E5-23AB25AAE2AA}" dt="2019-05-28T11:23:34.293" v="18584"/>
          <ac:spMkLst>
            <pc:docMk/>
            <pc:sldMk cId="223979715" sldId="632"/>
            <ac:spMk id="33" creationId="{C8A4DA8F-870E-4CD1-8509-0ABCC83715A0}"/>
          </ac:spMkLst>
        </pc:spChg>
        <pc:spChg chg="add mod ord">
          <ac:chgData name="Nwokenna, Ola" userId="24fd04f5-1db1-4044-9d5a-a2564da48616" providerId="ADAL" clId="{069E6D5C-44E2-4543-A9E5-23AB25AAE2AA}" dt="2019-05-28T11:23:48.450" v="19260"/>
          <ac:spMkLst>
            <pc:docMk/>
            <pc:sldMk cId="223979715" sldId="632"/>
            <ac:spMk id="34" creationId="{4AAF7B82-F418-4FC6-B85E-428232C2D5B6}"/>
          </ac:spMkLst>
        </pc:spChg>
        <pc:spChg chg="add del mod ord">
          <ac:chgData name="Nwokenna, Ola" userId="24fd04f5-1db1-4044-9d5a-a2564da48616" providerId="ADAL" clId="{069E6D5C-44E2-4543-A9E5-23AB25AAE2AA}" dt="2019-05-28T11:23:34.307" v="18586"/>
          <ac:spMkLst>
            <pc:docMk/>
            <pc:sldMk cId="223979715" sldId="632"/>
            <ac:spMk id="36" creationId="{B261B13A-1D3F-42A6-A8F5-9A5A31529242}"/>
          </ac:spMkLst>
        </pc:spChg>
        <pc:spChg chg="add mod ord">
          <ac:chgData name="Nwokenna, Ola" userId="24fd04f5-1db1-4044-9d5a-a2564da48616" providerId="ADAL" clId="{069E6D5C-44E2-4543-A9E5-23AB25AAE2AA}" dt="2019-05-28T11:23:48.458" v="19268"/>
          <ac:spMkLst>
            <pc:docMk/>
            <pc:sldMk cId="223979715" sldId="632"/>
            <ac:spMk id="37" creationId="{4AA77190-F300-48FA-AF0B-346693036E58}"/>
          </ac:spMkLst>
        </pc:spChg>
        <pc:spChg chg="add del mod ord">
          <ac:chgData name="Nwokenna, Ola" userId="24fd04f5-1db1-4044-9d5a-a2564da48616" providerId="ADAL" clId="{069E6D5C-44E2-4543-A9E5-23AB25AAE2AA}" dt="2019-05-28T11:09:06.171" v="5944"/>
          <ac:spMkLst>
            <pc:docMk/>
            <pc:sldMk cId="223979715" sldId="632"/>
            <ac:spMk id="41" creationId="{7961B46D-4DA8-460B-8942-2AA6B9A8ADDB}"/>
          </ac:spMkLst>
        </pc:spChg>
        <pc:spChg chg="add del mod ord">
          <ac:chgData name="Nwokenna, Ola" userId="24fd04f5-1db1-4044-9d5a-a2564da48616" providerId="ADAL" clId="{069E6D5C-44E2-4543-A9E5-23AB25AAE2AA}" dt="2019-05-28T11:09:05.946" v="5878"/>
          <ac:spMkLst>
            <pc:docMk/>
            <pc:sldMk cId="223979715" sldId="632"/>
            <ac:spMk id="42" creationId="{7AD5CE3E-D1D1-4932-8A06-D6A922B1195D}"/>
          </ac:spMkLst>
        </pc:spChg>
        <pc:spChg chg="add del mod ord">
          <ac:chgData name="Nwokenna, Ola" userId="24fd04f5-1db1-4044-9d5a-a2564da48616" providerId="ADAL" clId="{069E6D5C-44E2-4543-A9E5-23AB25AAE2AA}" dt="2019-05-28T11:09:06.113" v="5934"/>
          <ac:spMkLst>
            <pc:docMk/>
            <pc:sldMk cId="223979715" sldId="632"/>
            <ac:spMk id="45" creationId="{034113D3-F1E8-48DF-8D0B-24F1B6BFF73F}"/>
          </ac:spMkLst>
        </pc:spChg>
        <pc:spChg chg="add del mod ord">
          <ac:chgData name="Nwokenna, Ola" userId="24fd04f5-1db1-4044-9d5a-a2564da48616" providerId="ADAL" clId="{069E6D5C-44E2-4543-A9E5-23AB25AAE2AA}" dt="2019-05-28T11:09:05.945" v="5876"/>
          <ac:spMkLst>
            <pc:docMk/>
            <pc:sldMk cId="223979715" sldId="632"/>
            <ac:spMk id="46" creationId="{4CD8EED9-AD47-4685-B1DC-AFFBC730736A}"/>
          </ac:spMkLst>
        </pc:spChg>
        <pc:spChg chg="add del mod ord">
          <ac:chgData name="Nwokenna, Ola" userId="24fd04f5-1db1-4044-9d5a-a2564da48616" providerId="ADAL" clId="{069E6D5C-44E2-4543-A9E5-23AB25AAE2AA}" dt="2019-05-28T11:09:06.110" v="5932"/>
          <ac:spMkLst>
            <pc:docMk/>
            <pc:sldMk cId="223979715" sldId="632"/>
            <ac:spMk id="49" creationId="{734A9AC9-F4F0-48EA-B0FF-EC588FA04BA0}"/>
          </ac:spMkLst>
        </pc:spChg>
        <pc:spChg chg="add mod ord">
          <ac:chgData name="Nwokenna, Ola" userId="24fd04f5-1db1-4044-9d5a-a2564da48616" providerId="ADAL" clId="{069E6D5C-44E2-4543-A9E5-23AB25AAE2AA}" dt="2019-05-28T11:23:48.461" v="19270"/>
          <ac:spMkLst>
            <pc:docMk/>
            <pc:sldMk cId="223979715" sldId="632"/>
            <ac:spMk id="52" creationId="{0F278943-B1B9-43CC-8BC5-AC8FD77EFEBE}"/>
          </ac:spMkLst>
        </pc:spChg>
        <pc:spChg chg="add del mod ord">
          <ac:chgData name="Nwokenna, Ola" userId="24fd04f5-1db1-4044-9d5a-a2564da48616" providerId="ADAL" clId="{069E6D5C-44E2-4543-A9E5-23AB25AAE2AA}" dt="2019-05-28T11:09:14.566" v="6693"/>
          <ac:spMkLst>
            <pc:docMk/>
            <pc:sldMk cId="223979715" sldId="632"/>
            <ac:spMk id="54" creationId="{580A0C23-378D-4CBE-8BBC-B6D0D25543EA}"/>
          </ac:spMkLst>
        </pc:spChg>
        <pc:spChg chg="add del mod ord">
          <ac:chgData name="Nwokenna, Ola" userId="24fd04f5-1db1-4044-9d5a-a2564da48616" providerId="ADAL" clId="{069E6D5C-44E2-4543-A9E5-23AB25AAE2AA}" dt="2019-05-28T11:09:14.740" v="6747"/>
          <ac:spMkLst>
            <pc:docMk/>
            <pc:sldMk cId="223979715" sldId="632"/>
            <ac:spMk id="55" creationId="{3D53F1DF-74F7-4496-B38E-6FD1F21F671B}"/>
          </ac:spMkLst>
        </pc:spChg>
        <pc:spChg chg="add del mod ord">
          <ac:chgData name="Nwokenna, Ola" userId="24fd04f5-1db1-4044-9d5a-a2564da48616" providerId="ADAL" clId="{069E6D5C-44E2-4543-A9E5-23AB25AAE2AA}" dt="2019-05-28T11:09:14.571" v="6695"/>
          <ac:spMkLst>
            <pc:docMk/>
            <pc:sldMk cId="223979715" sldId="632"/>
            <ac:spMk id="56" creationId="{3E0FAF1F-3179-4708-9EE4-3D9E41D7A7E4}"/>
          </ac:spMkLst>
        </pc:spChg>
        <pc:spChg chg="add del mod ord">
          <ac:chgData name="Nwokenna, Ola" userId="24fd04f5-1db1-4044-9d5a-a2564da48616" providerId="ADAL" clId="{069E6D5C-44E2-4543-A9E5-23AB25AAE2AA}" dt="2019-05-28T11:09:14.576" v="6697"/>
          <ac:spMkLst>
            <pc:docMk/>
            <pc:sldMk cId="223979715" sldId="632"/>
            <ac:spMk id="57" creationId="{24D6BA6D-7633-48CC-BA2D-CE6D9E61B097}"/>
          </ac:spMkLst>
        </pc:spChg>
        <pc:spChg chg="add del mod ord">
          <ac:chgData name="Nwokenna, Ola" userId="24fd04f5-1db1-4044-9d5a-a2564da48616" providerId="ADAL" clId="{069E6D5C-44E2-4543-A9E5-23AB25AAE2AA}" dt="2019-05-28T11:10:15.701" v="8460"/>
          <ac:spMkLst>
            <pc:docMk/>
            <pc:sldMk cId="223979715" sldId="632"/>
            <ac:spMk id="69" creationId="{9BDA0984-2333-4B8B-A225-538EF70DCE9A}"/>
          </ac:spMkLst>
        </pc:spChg>
        <pc:spChg chg="add del mod ord">
          <ac:chgData name="Nwokenna, Ola" userId="24fd04f5-1db1-4044-9d5a-a2564da48616" providerId="ADAL" clId="{069E6D5C-44E2-4543-A9E5-23AB25AAE2AA}" dt="2019-05-28T11:10:15.703" v="8462"/>
          <ac:spMkLst>
            <pc:docMk/>
            <pc:sldMk cId="223979715" sldId="632"/>
            <ac:spMk id="70" creationId="{2FD7E271-F57D-4486-9EA5-71590A8B7FB5}"/>
          </ac:spMkLst>
        </pc:spChg>
        <pc:spChg chg="add del mod ord">
          <ac:chgData name="Nwokenna, Ola" userId="24fd04f5-1db1-4044-9d5a-a2564da48616" providerId="ADAL" clId="{069E6D5C-44E2-4543-A9E5-23AB25AAE2AA}" dt="2019-05-28T11:10:15.706" v="8464"/>
          <ac:spMkLst>
            <pc:docMk/>
            <pc:sldMk cId="223979715" sldId="632"/>
            <ac:spMk id="71" creationId="{7BABAE92-1692-4A38-B8DF-F232272A2E82}"/>
          </ac:spMkLst>
        </pc:spChg>
        <pc:spChg chg="add del mod ord">
          <ac:chgData name="Nwokenna, Ola" userId="24fd04f5-1db1-4044-9d5a-a2564da48616" providerId="ADAL" clId="{069E6D5C-44E2-4543-A9E5-23AB25AAE2AA}" dt="2019-05-28T11:10:15.708" v="8466"/>
          <ac:spMkLst>
            <pc:docMk/>
            <pc:sldMk cId="223979715" sldId="632"/>
            <ac:spMk id="72" creationId="{5B683F2D-C139-4727-B10D-72BE76606B1D}"/>
          </ac:spMkLst>
        </pc:spChg>
        <pc:spChg chg="add del mod ord">
          <ac:chgData name="Nwokenna, Ola" userId="24fd04f5-1db1-4044-9d5a-a2564da48616" providerId="ADAL" clId="{069E6D5C-44E2-4543-A9E5-23AB25AAE2AA}" dt="2019-05-28T11:10:15.712" v="8468"/>
          <ac:spMkLst>
            <pc:docMk/>
            <pc:sldMk cId="223979715" sldId="632"/>
            <ac:spMk id="73" creationId="{F67AED00-A79C-4E20-BB70-C6B98A5E8E66}"/>
          </ac:spMkLst>
        </pc:spChg>
        <pc:spChg chg="add del mod ord">
          <ac:chgData name="Nwokenna, Ola" userId="24fd04f5-1db1-4044-9d5a-a2564da48616" providerId="ADAL" clId="{069E6D5C-44E2-4543-A9E5-23AB25AAE2AA}" dt="2019-05-28T11:10:15.715" v="8470"/>
          <ac:spMkLst>
            <pc:docMk/>
            <pc:sldMk cId="223979715" sldId="632"/>
            <ac:spMk id="74" creationId="{11CDC787-36C0-42D0-AE1E-7933AEB3C10A}"/>
          </ac:spMkLst>
        </pc:spChg>
        <pc:spChg chg="add del mod ord">
          <ac:chgData name="Nwokenna, Ola" userId="24fd04f5-1db1-4044-9d5a-a2564da48616" providerId="ADAL" clId="{069E6D5C-44E2-4543-A9E5-23AB25AAE2AA}" dt="2019-05-28T11:10:15.718" v="8472"/>
          <ac:spMkLst>
            <pc:docMk/>
            <pc:sldMk cId="223979715" sldId="632"/>
            <ac:spMk id="75" creationId="{3667A783-15D1-4889-B1D2-344550AC0B32}"/>
          </ac:spMkLst>
        </pc:spChg>
        <pc:spChg chg="add del mod ord">
          <ac:chgData name="Nwokenna, Ola" userId="24fd04f5-1db1-4044-9d5a-a2564da48616" providerId="ADAL" clId="{069E6D5C-44E2-4543-A9E5-23AB25AAE2AA}" dt="2019-05-28T11:10:15.720" v="8474"/>
          <ac:spMkLst>
            <pc:docMk/>
            <pc:sldMk cId="223979715" sldId="632"/>
            <ac:spMk id="76" creationId="{CEED4360-D480-4C0C-9B87-434FACD45F8A}"/>
          </ac:spMkLst>
        </pc:spChg>
        <pc:spChg chg="add del mod ord">
          <ac:chgData name="Nwokenna, Ola" userId="24fd04f5-1db1-4044-9d5a-a2564da48616" providerId="ADAL" clId="{069E6D5C-44E2-4543-A9E5-23AB25AAE2AA}" dt="2019-05-28T11:10:15.722" v="8476"/>
          <ac:spMkLst>
            <pc:docMk/>
            <pc:sldMk cId="223979715" sldId="632"/>
            <ac:spMk id="77" creationId="{19C0942F-7F8A-4A68-8716-2E08C3193821}"/>
          </ac:spMkLst>
        </pc:spChg>
        <pc:spChg chg="add del mod ord">
          <ac:chgData name="Nwokenna, Ola" userId="24fd04f5-1db1-4044-9d5a-a2564da48616" providerId="ADAL" clId="{069E6D5C-44E2-4543-A9E5-23AB25AAE2AA}" dt="2019-05-28T11:10:15.725" v="8478"/>
          <ac:spMkLst>
            <pc:docMk/>
            <pc:sldMk cId="223979715" sldId="632"/>
            <ac:spMk id="78" creationId="{8F8A2444-9CC5-4507-906A-F1F0E43344D5}"/>
          </ac:spMkLst>
        </pc:spChg>
        <pc:spChg chg="add del mod ord">
          <ac:chgData name="Nwokenna, Ola" userId="24fd04f5-1db1-4044-9d5a-a2564da48616" providerId="ADAL" clId="{069E6D5C-44E2-4543-A9E5-23AB25AAE2AA}" dt="2019-05-28T11:10:15.731" v="8480"/>
          <ac:spMkLst>
            <pc:docMk/>
            <pc:sldMk cId="223979715" sldId="632"/>
            <ac:spMk id="79" creationId="{754D1FB8-974A-497E-9FB1-D95B8535F1DB}"/>
          </ac:spMkLst>
        </pc:spChg>
        <pc:spChg chg="add del mod ord">
          <ac:chgData name="Nwokenna, Ola" userId="24fd04f5-1db1-4044-9d5a-a2564da48616" providerId="ADAL" clId="{069E6D5C-44E2-4543-A9E5-23AB25AAE2AA}" dt="2019-05-28T11:23:50.009" v="19285" actId="478"/>
          <ac:spMkLst>
            <pc:docMk/>
            <pc:sldMk cId="223979715" sldId="632"/>
            <ac:spMk id="84" creationId="{99869E9F-D418-4B76-A6D4-681D59597D56}"/>
          </ac:spMkLst>
        </pc:spChg>
        <pc:spChg chg="mod ord">
          <ac:chgData name="Nwokenna, Ola" userId="24fd04f5-1db1-4044-9d5a-a2564da48616" providerId="ADAL" clId="{069E6D5C-44E2-4543-A9E5-23AB25AAE2AA}" dt="2019-05-28T11:23:48.471" v="19280"/>
          <ac:spMkLst>
            <pc:docMk/>
            <pc:sldMk cId="223979715" sldId="632"/>
            <ac:spMk id="95" creationId="{7F0E77C6-5A0F-446D-9FC8-D77BE6D0C186}"/>
          </ac:spMkLst>
        </pc:spChg>
        <pc:spChg chg="add del mod">
          <ac:chgData name="Nwokenna, Ola" userId="24fd04f5-1db1-4044-9d5a-a2564da48616" providerId="ADAL" clId="{069E6D5C-44E2-4543-A9E5-23AB25AAE2AA}" dt="2019-05-28T11:22:37.659" v="17683" actId="478"/>
          <ac:spMkLst>
            <pc:docMk/>
            <pc:sldMk cId="223979715" sldId="632"/>
            <ac:spMk id="96" creationId="{2F530E61-0192-47B5-B163-9AB19C76B3C8}"/>
          </ac:spMkLst>
        </pc:spChg>
        <pc:spChg chg="add mod ord">
          <ac:chgData name="Nwokenna, Ola" userId="24fd04f5-1db1-4044-9d5a-a2564da48616" providerId="ADAL" clId="{069E6D5C-44E2-4543-A9E5-23AB25AAE2AA}" dt="2019-05-28T11:23:48.475" v="19282"/>
          <ac:spMkLst>
            <pc:docMk/>
            <pc:sldMk cId="223979715" sldId="632"/>
            <ac:spMk id="97" creationId="{2B5BE31A-91AB-4D2A-A262-907EE5636D18}"/>
          </ac:spMkLst>
        </pc:spChg>
        <pc:spChg chg="add mod ord">
          <ac:chgData name="Nwokenna, Ola" userId="24fd04f5-1db1-4044-9d5a-a2564da48616" providerId="ADAL" clId="{069E6D5C-44E2-4543-A9E5-23AB25AAE2AA}" dt="2019-05-28T11:23:48.463" v="19272"/>
          <ac:spMkLst>
            <pc:docMk/>
            <pc:sldMk cId="223979715" sldId="632"/>
            <ac:spMk id="107" creationId="{6EAAF1AB-EB7C-424D-9AEA-12C3407DB003}"/>
          </ac:spMkLst>
        </pc:spChg>
        <pc:spChg chg="add mod ord">
          <ac:chgData name="Nwokenna, Ola" userId="24fd04f5-1db1-4044-9d5a-a2564da48616" providerId="ADAL" clId="{069E6D5C-44E2-4543-A9E5-23AB25AAE2AA}" dt="2019-05-28T11:23:48.465" v="19274"/>
          <ac:spMkLst>
            <pc:docMk/>
            <pc:sldMk cId="223979715" sldId="632"/>
            <ac:spMk id="109" creationId="{737C054D-612E-454D-9250-7DB3FCE5323F}"/>
          </ac:spMkLst>
        </pc:spChg>
        <pc:spChg chg="add mod ord">
          <ac:chgData name="Nwokenna, Ola" userId="24fd04f5-1db1-4044-9d5a-a2564da48616" providerId="ADAL" clId="{069E6D5C-44E2-4543-A9E5-23AB25AAE2AA}" dt="2019-05-28T11:23:48.467" v="19276"/>
          <ac:spMkLst>
            <pc:docMk/>
            <pc:sldMk cId="223979715" sldId="632"/>
            <ac:spMk id="111" creationId="{D44B9498-72B1-4A9A-B9D4-888E470E5F29}"/>
          </ac:spMkLst>
        </pc:spChg>
        <pc:graphicFrameChg chg="add del mod">
          <ac:chgData name="Nwokenna, Ola" userId="24fd04f5-1db1-4044-9d5a-a2564da48616" providerId="ADAL" clId="{069E6D5C-44E2-4543-A9E5-23AB25AAE2AA}" dt="2019-05-28T11:08:22.814" v="3934"/>
          <ac:graphicFrameMkLst>
            <pc:docMk/>
            <pc:sldMk cId="223979715" sldId="632"/>
            <ac:graphicFrameMk id="18" creationId="{FDCA861B-C152-43BF-8463-DD1C1C15DDD5}"/>
          </ac:graphicFrameMkLst>
        </pc:graphicFrameChg>
        <pc:graphicFrameChg chg="add mod ord">
          <ac:chgData name="Nwokenna, Ola" userId="24fd04f5-1db1-4044-9d5a-a2564da48616" providerId="ADAL" clId="{069E6D5C-44E2-4543-A9E5-23AB25AAE2AA}" dt="2019-05-28T11:23:48.533" v="19284"/>
          <ac:graphicFrameMkLst>
            <pc:docMk/>
            <pc:sldMk cId="223979715" sldId="632"/>
            <ac:graphicFrameMk id="19" creationId="{D6598E60-5402-47F4-ABD5-E3D9AFBFC2E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26.289" v="3983"/>
          <ac:graphicFrameMkLst>
            <pc:docMk/>
            <pc:sldMk cId="223979715" sldId="632"/>
            <ac:graphicFrameMk id="20" creationId="{7E62B747-14C7-4057-8C00-685240E12BC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27.790" v="4030"/>
          <ac:graphicFrameMkLst>
            <pc:docMk/>
            <pc:sldMk cId="223979715" sldId="632"/>
            <ac:graphicFrameMk id="21" creationId="{8CCD93CC-817C-4B80-A381-9C64A162692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28.041" v="4065"/>
          <ac:graphicFrameMkLst>
            <pc:docMk/>
            <pc:sldMk cId="223979715" sldId="632"/>
            <ac:graphicFrameMk id="22" creationId="{87C80D96-9B33-4E33-ABF7-7E67BBFBD16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38.739" v="4128"/>
          <ac:graphicFrameMkLst>
            <pc:docMk/>
            <pc:sldMk cId="223979715" sldId="632"/>
            <ac:graphicFrameMk id="23" creationId="{EE9504C1-A10E-46A7-98D0-91C00636348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41.741" v="4179"/>
          <ac:graphicFrameMkLst>
            <pc:docMk/>
            <pc:sldMk cId="223979715" sldId="632"/>
            <ac:graphicFrameMk id="24" creationId="{15BADE85-3DD0-4008-86F2-7E56949A0FB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44.463" v="4372"/>
          <ac:graphicFrameMkLst>
            <pc:docMk/>
            <pc:sldMk cId="223979715" sldId="632"/>
            <ac:graphicFrameMk id="25" creationId="{2D871EF2-FBF1-46D2-8438-D87AF045629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46.899" v="4495"/>
          <ac:graphicFrameMkLst>
            <pc:docMk/>
            <pc:sldMk cId="223979715" sldId="632"/>
            <ac:graphicFrameMk id="28" creationId="{891F264C-C47A-4516-B75B-EC37B5F378C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49.347" v="4620"/>
          <ac:graphicFrameMkLst>
            <pc:docMk/>
            <pc:sldMk cId="223979715" sldId="632"/>
            <ac:graphicFrameMk id="30" creationId="{073AED7A-EE67-44F3-9949-87654721723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51.388" v="4796"/>
          <ac:graphicFrameMkLst>
            <pc:docMk/>
            <pc:sldMk cId="223979715" sldId="632"/>
            <ac:graphicFrameMk id="32" creationId="{89AD2AF0-F2D2-43B8-A501-8C351776E0D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52.092" v="4976"/>
          <ac:graphicFrameMkLst>
            <pc:docMk/>
            <pc:sldMk cId="223979715" sldId="632"/>
            <ac:graphicFrameMk id="35" creationId="{0FAC835F-A806-40FB-803F-76D143A92EB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54.832" v="5109"/>
          <ac:graphicFrameMkLst>
            <pc:docMk/>
            <pc:sldMk cId="223979715" sldId="632"/>
            <ac:graphicFrameMk id="38" creationId="{E5A86AA7-E102-420C-B5C4-5756665D9A3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57.373" v="5156"/>
          <ac:graphicFrameMkLst>
            <pc:docMk/>
            <pc:sldMk cId="223979715" sldId="632"/>
            <ac:graphicFrameMk id="39" creationId="{89DE8F5A-2EFA-4B8C-A029-0173456A8F6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59.520" v="5354"/>
          <ac:graphicFrameMkLst>
            <pc:docMk/>
            <pc:sldMk cId="223979715" sldId="632"/>
            <ac:graphicFrameMk id="40" creationId="{AC8E7D0F-5346-4D98-AB62-85FB8509E04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02.862" v="5660"/>
          <ac:graphicFrameMkLst>
            <pc:docMk/>
            <pc:sldMk cId="223979715" sldId="632"/>
            <ac:graphicFrameMk id="44" creationId="{80A7E3BC-331F-4A27-BBE7-3111004BD20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03.318" v="5814"/>
          <ac:graphicFrameMkLst>
            <pc:docMk/>
            <pc:sldMk cId="223979715" sldId="632"/>
            <ac:graphicFrameMk id="48" creationId="{1F77C67D-FCD2-4BE6-A231-F809E4EC680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06.218" v="5991"/>
          <ac:graphicFrameMkLst>
            <pc:docMk/>
            <pc:sldMk cId="223979715" sldId="632"/>
            <ac:graphicFrameMk id="50" creationId="{716530EB-A865-40F2-B61C-E6E3BE47896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07.492" v="6053"/>
          <ac:graphicFrameMkLst>
            <pc:docMk/>
            <pc:sldMk cId="223979715" sldId="632"/>
            <ac:graphicFrameMk id="51" creationId="{6F83ADBD-67C6-455F-A987-BA64D499A22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11.438" v="6637"/>
          <ac:graphicFrameMkLst>
            <pc:docMk/>
            <pc:sldMk cId="223979715" sldId="632"/>
            <ac:graphicFrameMk id="53" creationId="{5C11C1D4-0E0E-4CD6-89E5-33F3BC84C1A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14.863" v="6816"/>
          <ac:graphicFrameMkLst>
            <pc:docMk/>
            <pc:sldMk cId="223979715" sldId="632"/>
            <ac:graphicFrameMk id="61" creationId="{C9150A03-E32E-4F25-9F79-32DC3B14A41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40.530" v="6929"/>
          <ac:graphicFrameMkLst>
            <pc:docMk/>
            <pc:sldMk cId="223979715" sldId="632"/>
            <ac:graphicFrameMk id="62" creationId="{58C10C57-81C0-46B2-87AB-8EC9A1ACC5E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43.537" v="7066"/>
          <ac:graphicFrameMkLst>
            <pc:docMk/>
            <pc:sldMk cId="223979715" sldId="632"/>
            <ac:graphicFrameMk id="63" creationId="{794F1F59-84B5-4EB9-A4B7-07439647878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46.309" v="7203"/>
          <ac:graphicFrameMkLst>
            <pc:docMk/>
            <pc:sldMk cId="223979715" sldId="632"/>
            <ac:graphicFrameMk id="64" creationId="{DB872E3F-A9F1-4242-87F3-B66245901DC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47.853" v="7292"/>
          <ac:graphicFrameMkLst>
            <pc:docMk/>
            <pc:sldMk cId="223979715" sldId="632"/>
            <ac:graphicFrameMk id="65" creationId="{BF249AE6-6279-48CA-A7C4-90E0A811470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52.964" v="7374"/>
          <ac:graphicFrameMkLst>
            <pc:docMk/>
            <pc:sldMk cId="223979715" sldId="632"/>
            <ac:graphicFrameMk id="66" creationId="{2E3A89B9-056A-43B8-9416-5D300E826FB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56.689" v="7467"/>
          <ac:graphicFrameMkLst>
            <pc:docMk/>
            <pc:sldMk cId="223979715" sldId="632"/>
            <ac:graphicFrameMk id="67" creationId="{EAAAD107-70B2-46B4-8EDA-FE4AD383AE5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0:09.490" v="8305"/>
          <ac:graphicFrameMkLst>
            <pc:docMk/>
            <pc:sldMk cId="223979715" sldId="632"/>
            <ac:graphicFrameMk id="68" creationId="{A2728DA2-4489-4E34-B4C4-C72C7F2D7B5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0:09.924" v="8398"/>
          <ac:graphicFrameMkLst>
            <pc:docMk/>
            <pc:sldMk cId="223979715" sldId="632"/>
            <ac:graphicFrameMk id="80" creationId="{8D4515B0-710B-4210-95CB-1F096D58BAB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0:15.740" v="8481"/>
          <ac:graphicFrameMkLst>
            <pc:docMk/>
            <pc:sldMk cId="223979715" sldId="632"/>
            <ac:graphicFrameMk id="81" creationId="{F4B8B57D-6034-4CF7-A618-998EA027B3F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0:17.547" v="8598"/>
          <ac:graphicFrameMkLst>
            <pc:docMk/>
            <pc:sldMk cId="223979715" sldId="632"/>
            <ac:graphicFrameMk id="82" creationId="{28B4DA42-16C0-479A-A68C-C8420111C81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09.767" v="8760"/>
          <ac:graphicFrameMkLst>
            <pc:docMk/>
            <pc:sldMk cId="223979715" sldId="632"/>
            <ac:graphicFrameMk id="83" creationId="{FBBB913C-8D13-4FF7-9E2B-383F57584CD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14.490" v="8927"/>
          <ac:graphicFrameMkLst>
            <pc:docMk/>
            <pc:sldMk cId="223979715" sldId="632"/>
            <ac:graphicFrameMk id="85" creationId="{DF57EC29-C71D-4668-8EBF-681E3370840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17.487" v="9094"/>
          <ac:graphicFrameMkLst>
            <pc:docMk/>
            <pc:sldMk cId="223979715" sldId="632"/>
            <ac:graphicFrameMk id="86" creationId="{42480CFA-BABC-4863-83D5-BB5EC95C3AF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19.786" v="9261"/>
          <ac:graphicFrameMkLst>
            <pc:docMk/>
            <pc:sldMk cId="223979715" sldId="632"/>
            <ac:graphicFrameMk id="87" creationId="{352ED7A3-A0AE-4517-8329-3D9D6D51672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30.835" v="9364"/>
          <ac:graphicFrameMkLst>
            <pc:docMk/>
            <pc:sldMk cId="223979715" sldId="632"/>
            <ac:graphicFrameMk id="88" creationId="{8F4AA01A-36B8-4383-B1CD-A4BCA9F0A6E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33.160" v="9477"/>
          <ac:graphicFrameMkLst>
            <pc:docMk/>
            <pc:sldMk cId="223979715" sldId="632"/>
            <ac:graphicFrameMk id="89" creationId="{B66F6EFD-49E0-4246-B94D-46588BF3F31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54.319" v="9590"/>
          <ac:graphicFrameMkLst>
            <pc:docMk/>
            <pc:sldMk cId="223979715" sldId="632"/>
            <ac:graphicFrameMk id="90" creationId="{8DEA677F-6847-47A4-A8CD-C7285BEE8D0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56.693" v="9699"/>
          <ac:graphicFrameMkLst>
            <pc:docMk/>
            <pc:sldMk cId="223979715" sldId="632"/>
            <ac:graphicFrameMk id="91" creationId="{04251383-69C8-487E-BC6A-5E42A9017A4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58.619" v="9808"/>
          <ac:graphicFrameMkLst>
            <pc:docMk/>
            <pc:sldMk cId="223979715" sldId="632"/>
            <ac:graphicFrameMk id="92" creationId="{A528E993-E01A-46B6-B103-9E254939AB2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59.260" v="9917"/>
          <ac:graphicFrameMkLst>
            <pc:docMk/>
            <pc:sldMk cId="223979715" sldId="632"/>
            <ac:graphicFrameMk id="93" creationId="{1E7C9C32-22E6-4388-95DE-9EC953C4DB4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2:53.980" v="17737"/>
          <ac:graphicFrameMkLst>
            <pc:docMk/>
            <pc:sldMk cId="223979715" sldId="632"/>
            <ac:graphicFrameMk id="94" creationId="{8551E0BF-9E2F-4309-9D8E-3ED827AEC80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2:56.369" v="17822"/>
          <ac:graphicFrameMkLst>
            <pc:docMk/>
            <pc:sldMk cId="223979715" sldId="632"/>
            <ac:graphicFrameMk id="98" creationId="{95D814A9-815B-450D-B9EB-D9DC3FE1DA4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2:59.369" v="17921"/>
          <ac:graphicFrameMkLst>
            <pc:docMk/>
            <pc:sldMk cId="223979715" sldId="632"/>
            <ac:graphicFrameMk id="99" creationId="{427145E6-D1CB-4CC4-BCCB-5246220C23D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01.815" v="18023"/>
          <ac:graphicFrameMkLst>
            <pc:docMk/>
            <pc:sldMk cId="223979715" sldId="632"/>
            <ac:graphicFrameMk id="100" creationId="{A9BA5F6D-D4A4-4939-9513-4D2A94550AE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07.751" v="18133"/>
          <ac:graphicFrameMkLst>
            <pc:docMk/>
            <pc:sldMk cId="223979715" sldId="632"/>
            <ac:graphicFrameMk id="101" creationId="{8C869096-AD0D-44D9-8712-8FDBC787FAD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10.162" v="18230"/>
          <ac:graphicFrameMkLst>
            <pc:docMk/>
            <pc:sldMk cId="223979715" sldId="632"/>
            <ac:graphicFrameMk id="102" creationId="{7F33625E-86F7-40EB-BFE4-AF25D1E25DE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24.562" v="18401"/>
          <ac:graphicFrameMkLst>
            <pc:docMk/>
            <pc:sldMk cId="223979715" sldId="632"/>
            <ac:graphicFrameMk id="103" creationId="{5537EB9A-5B9C-49BC-B045-907EACC496E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31.520" v="18476"/>
          <ac:graphicFrameMkLst>
            <pc:docMk/>
            <pc:sldMk cId="223979715" sldId="632"/>
            <ac:graphicFrameMk id="104" creationId="{4BFA0F39-8A92-442D-9E2C-EE4F971FB3A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34.371" v="18591"/>
          <ac:graphicFrameMkLst>
            <pc:docMk/>
            <pc:sldMk cId="223979715" sldId="632"/>
            <ac:graphicFrameMk id="105" creationId="{259FA576-6ABF-4DE4-AFA0-EBF6EDDD8B8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34.960" v="18705"/>
          <ac:graphicFrameMkLst>
            <pc:docMk/>
            <pc:sldMk cId="223979715" sldId="632"/>
            <ac:graphicFrameMk id="106" creationId="{F530568E-43AD-4124-8831-A9D46E14ABB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36.857" v="18821"/>
          <ac:graphicFrameMkLst>
            <pc:docMk/>
            <pc:sldMk cId="223979715" sldId="632"/>
            <ac:graphicFrameMk id="108" creationId="{6338D56A-F0B3-4027-A448-5305B725F65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37.959" v="18939"/>
          <ac:graphicFrameMkLst>
            <pc:docMk/>
            <pc:sldMk cId="223979715" sldId="632"/>
            <ac:graphicFrameMk id="110" creationId="{6D34A44D-C8CD-456D-8A0D-0083D55F8C3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42.727" v="19041"/>
          <ac:graphicFrameMkLst>
            <pc:docMk/>
            <pc:sldMk cId="223979715" sldId="632"/>
            <ac:graphicFrameMk id="112" creationId="{3097F42D-9A34-4903-A7C6-2BAA8A65E26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46.471" v="19131"/>
          <ac:graphicFrameMkLst>
            <pc:docMk/>
            <pc:sldMk cId="223979715" sldId="632"/>
            <ac:graphicFrameMk id="113" creationId="{ABD58E86-8F9D-490C-8CAB-7210E5C267D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48.256" v="19223"/>
          <ac:graphicFrameMkLst>
            <pc:docMk/>
            <pc:sldMk cId="223979715" sldId="632"/>
            <ac:graphicFrameMk id="114" creationId="{736C246D-CD4A-4EA4-B611-8E9514344D74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1:23:48.441" v="19252"/>
          <ac:graphicFrameMkLst>
            <pc:docMk/>
            <pc:sldMk cId="223979715" sldId="632"/>
            <ac:graphicFrameMk id="115" creationId="{FD9A1FBA-067F-4839-B4E4-719C3EE8699F}"/>
          </ac:graphicFrameMkLst>
        </pc:graphicFrameChg>
        <pc:cxnChg chg="add mod ord">
          <ac:chgData name="Nwokenna, Ola" userId="24fd04f5-1db1-4044-9d5a-a2564da48616" providerId="ADAL" clId="{069E6D5C-44E2-4543-A9E5-23AB25AAE2AA}" dt="2019-05-28T11:23:48.443" v="19254"/>
          <ac:cxnSpMkLst>
            <pc:docMk/>
            <pc:sldMk cId="223979715" sldId="632"/>
            <ac:cxnSpMk id="17" creationId="{2202F774-1B67-4AED-9BC8-34935C490277}"/>
          </ac:cxnSpMkLst>
        </pc:cxnChg>
        <pc:cxnChg chg="add del mod ord">
          <ac:chgData name="Nwokenna, Ola" userId="24fd04f5-1db1-4044-9d5a-a2564da48616" providerId="ADAL" clId="{069E6D5C-44E2-4543-A9E5-23AB25AAE2AA}" dt="2019-05-28T11:09:06.172" v="5946"/>
          <ac:cxnSpMkLst>
            <pc:docMk/>
            <pc:sldMk cId="223979715" sldId="632"/>
            <ac:cxnSpMk id="43" creationId="{D13C3AD2-B9F2-4F15-9D12-F08633C6E7AD}"/>
          </ac:cxnSpMkLst>
        </pc:cxnChg>
        <pc:cxnChg chg="add del mod ord">
          <ac:chgData name="Nwokenna, Ola" userId="24fd04f5-1db1-4044-9d5a-a2564da48616" providerId="ADAL" clId="{069E6D5C-44E2-4543-A9E5-23AB25AAE2AA}" dt="2019-05-28T11:09:05.944" v="5874"/>
          <ac:cxnSpMkLst>
            <pc:docMk/>
            <pc:sldMk cId="223979715" sldId="632"/>
            <ac:cxnSpMk id="47" creationId="{6596F310-C80F-48B0-BE62-00C6E614C5A6}"/>
          </ac:cxnSpMkLst>
        </pc:cxnChg>
        <pc:cxnChg chg="add del mod ord">
          <ac:chgData name="Nwokenna, Ola" userId="24fd04f5-1db1-4044-9d5a-a2564da48616" providerId="ADAL" clId="{069E6D5C-44E2-4543-A9E5-23AB25AAE2AA}" dt="2019-05-28T11:09:14.742" v="6749"/>
          <ac:cxnSpMkLst>
            <pc:docMk/>
            <pc:sldMk cId="223979715" sldId="632"/>
            <ac:cxnSpMk id="58" creationId="{B62F797A-D9A3-4D1A-94C7-1C3B42D09080}"/>
          </ac:cxnSpMkLst>
        </pc:cxnChg>
        <pc:cxnChg chg="add del mod ord">
          <ac:chgData name="Nwokenna, Ola" userId="24fd04f5-1db1-4044-9d5a-a2564da48616" providerId="ADAL" clId="{069E6D5C-44E2-4543-A9E5-23AB25AAE2AA}" dt="2019-05-28T11:09:14.743" v="6751"/>
          <ac:cxnSpMkLst>
            <pc:docMk/>
            <pc:sldMk cId="223979715" sldId="632"/>
            <ac:cxnSpMk id="59" creationId="{0A421ACA-CEBF-4FD7-AF28-96561A7D93F7}"/>
          </ac:cxnSpMkLst>
        </pc:cxnChg>
        <pc:cxnChg chg="add del mod ord">
          <ac:chgData name="Nwokenna, Ola" userId="24fd04f5-1db1-4044-9d5a-a2564da48616" providerId="ADAL" clId="{069E6D5C-44E2-4543-A9E5-23AB25AAE2AA}" dt="2019-05-28T11:09:14.745" v="6753"/>
          <ac:cxnSpMkLst>
            <pc:docMk/>
            <pc:sldMk cId="223979715" sldId="632"/>
            <ac:cxnSpMk id="60" creationId="{6C9C666C-6A24-4D65-8993-0549DD26BF6A}"/>
          </ac:cxnSpMkLst>
        </pc:cxnChg>
      </pc:sldChg>
      <pc:sldChg chg="addSp delSp modSp add">
        <pc:chgData name="Nwokenna, Ola" userId="24fd04f5-1db1-4044-9d5a-a2564da48616" providerId="ADAL" clId="{069E6D5C-44E2-4543-A9E5-23AB25AAE2AA}" dt="2019-05-28T12:33:51.941" v="42792"/>
        <pc:sldMkLst>
          <pc:docMk/>
          <pc:sldMk cId="649956191" sldId="633"/>
        </pc:sldMkLst>
        <pc:spChg chg="mod ord">
          <ac:chgData name="Nwokenna, Ola" userId="24fd04f5-1db1-4044-9d5a-a2564da48616" providerId="ADAL" clId="{069E6D5C-44E2-4543-A9E5-23AB25AAE2AA}" dt="2019-05-28T12:33:51.862" v="42735"/>
          <ac:spMkLst>
            <pc:docMk/>
            <pc:sldMk cId="649956191" sldId="633"/>
            <ac:spMk id="2" creationId="{A06263D5-7442-4CE4-9E5E-394B91A8AF1B}"/>
          </ac:spMkLst>
        </pc:spChg>
        <pc:spChg chg="del mod ord">
          <ac:chgData name="Nwokenna, Ola" userId="24fd04f5-1db1-4044-9d5a-a2564da48616" providerId="ADAL" clId="{069E6D5C-44E2-4543-A9E5-23AB25AAE2AA}" dt="2019-05-28T11:15:30.612" v="10165" actId="478"/>
          <ac:spMkLst>
            <pc:docMk/>
            <pc:sldMk cId="649956191" sldId="633"/>
            <ac:spMk id="3" creationId="{050D9F3D-BD2E-4EA9-9B16-919E5B481EF6}"/>
          </ac:spMkLst>
        </pc:spChg>
        <pc:spChg chg="del mod ord">
          <ac:chgData name="Nwokenna, Ola" userId="24fd04f5-1db1-4044-9d5a-a2564da48616" providerId="ADAL" clId="{069E6D5C-44E2-4543-A9E5-23AB25AAE2AA}" dt="2019-05-28T11:23:59.022" v="19286" actId="478"/>
          <ac:spMkLst>
            <pc:docMk/>
            <pc:sldMk cId="649956191" sldId="633"/>
            <ac:spMk id="4" creationId="{636F4C3A-09AA-4840-BA6B-FF42C3E99B85}"/>
          </ac:spMkLst>
        </pc:spChg>
        <pc:spChg chg="mod ord">
          <ac:chgData name="Nwokenna, Ola" userId="24fd04f5-1db1-4044-9d5a-a2564da48616" providerId="ADAL" clId="{069E6D5C-44E2-4543-A9E5-23AB25AAE2AA}" dt="2019-05-28T12:33:51.864" v="42737"/>
          <ac:spMkLst>
            <pc:docMk/>
            <pc:sldMk cId="649956191" sldId="633"/>
            <ac:spMk id="5" creationId="{E74BB043-350E-46D5-B02F-F48CB9C58A0E}"/>
          </ac:spMkLst>
        </pc:spChg>
        <pc:spChg chg="add mod ord">
          <ac:chgData name="Nwokenna, Ola" userId="24fd04f5-1db1-4044-9d5a-a2564da48616" providerId="ADAL" clId="{069E6D5C-44E2-4543-A9E5-23AB25AAE2AA}" dt="2019-05-28T12:33:51.860" v="42733"/>
          <ac:spMkLst>
            <pc:docMk/>
            <pc:sldMk cId="649956191" sldId="633"/>
            <ac:spMk id="6" creationId="{6BF73A03-4A3C-4C2D-8FB2-7E112C8DD630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0" creationId="{17D764D5-FA1D-4346-9FB5-DE3C69F8BD8D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1" creationId="{ABB7661A-E303-4641-A70C-A884CF3A898A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2" creationId="{EDE2C6E4-86F9-4ECA-86F8-F619AD5A42AD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3" creationId="{43D3F0EA-23C1-4D12-B51C-0518EBE46092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4" creationId="{495BEA5B-7EDA-472F-962C-BC53BC16C8F3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5" creationId="{2C195665-6933-4353-8FF7-013CCE806ABC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6" creationId="{AB69BF22-8E51-4564-B22E-A70A72D34870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7" creationId="{F01D6011-8B90-4EB0-ACE5-A8F9FB9B6462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8" creationId="{2A929E4B-95D4-4F21-B36A-9AB5ADD9F1C9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9" creationId="{DF9E91D8-63F9-4B55-B3F3-F6D0576F2857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20" creationId="{618829D7-2679-4280-97BB-88B97A319008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26" creationId="{0A686C5A-A664-4DCD-95AE-5E478AF51603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27" creationId="{4F0B0748-A284-430E-98B4-F942CC5B8D8A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28" creationId="{7B22ADF5-C131-4E51-9D60-9B02FE28D737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29" creationId="{B7B1AED9-3C48-4479-BBDA-767CDBD43710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0" creationId="{45097FA6-3E4B-4967-B897-88400274AB02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1" creationId="{646F3C44-9F77-4487-9E46-2BD8DE248D36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2" creationId="{7DA6A0F9-C22A-4EC7-B4F3-1BC847D1A42B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3" creationId="{9D1502FB-F87A-4B66-9393-A807528ACC84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4" creationId="{707A2D45-606B-4070-AB43-DD0F8E2C1353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5" creationId="{B2F4AEBF-4E7C-49A0-B824-0B71DAA524A9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6" creationId="{28369F6D-4298-406E-B701-607B1027C496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0" creationId="{F93507BA-1CDD-4553-B0D8-B3655C579805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1" creationId="{A6FF7723-C5E6-4086-A706-247FCEA49D96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2" creationId="{FC013C8A-D394-4617-AA4B-FD1B822DE2F9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3" creationId="{86821386-D827-4E13-AB84-C89BE3235840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4" creationId="{94748D36-065A-4143-90F6-DAAD521A1B8D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5" creationId="{A5C29503-6416-4801-8D51-F87A8E85A391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6" creationId="{175E0665-D8B1-42FE-80CE-8CEF2C7559A7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7" creationId="{33E3E017-7D6C-4924-B73D-12BE29C85708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8" creationId="{08205CA2-C822-4D76-B5AB-0F169D4DDD99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9" creationId="{3846DFB6-F488-4719-A75F-A39C96F025C1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50" creationId="{6A1190DB-8EC1-4131-A3C8-09FEF9E663B3}"/>
          </ac:spMkLst>
        </pc:spChg>
        <pc:spChg chg="add del mod ord">
          <ac:chgData name="Nwokenna, Ola" userId="24fd04f5-1db1-4044-9d5a-a2564da48616" providerId="ADAL" clId="{069E6D5C-44E2-4543-A9E5-23AB25AAE2AA}" dt="2019-05-28T11:17:34.400" v="12426" actId="478"/>
          <ac:spMkLst>
            <pc:docMk/>
            <pc:sldMk cId="649956191" sldId="633"/>
            <ac:spMk id="55" creationId="{6EFE48A5-86E8-4076-8BEE-94E821536CF8}"/>
          </ac:spMkLst>
        </pc:spChg>
        <pc:spChg chg="add del mod ord">
          <ac:chgData name="Nwokenna, Ola" userId="24fd04f5-1db1-4044-9d5a-a2564da48616" providerId="ADAL" clId="{069E6D5C-44E2-4543-A9E5-23AB25AAE2AA}" dt="2019-05-28T11:17:35.908" v="12427" actId="478"/>
          <ac:spMkLst>
            <pc:docMk/>
            <pc:sldMk cId="649956191" sldId="633"/>
            <ac:spMk id="56" creationId="{36E1D209-5B38-4741-930C-3FF8E5D2D9B6}"/>
          </ac:spMkLst>
        </pc:spChg>
        <pc:spChg chg="add del mod">
          <ac:chgData name="Nwokenna, Ola" userId="24fd04f5-1db1-4044-9d5a-a2564da48616" providerId="ADAL" clId="{069E6D5C-44E2-4543-A9E5-23AB25AAE2AA}" dt="2019-05-28T11:17:51.144" v="12454" actId="478"/>
          <ac:spMkLst>
            <pc:docMk/>
            <pc:sldMk cId="649956191" sldId="633"/>
            <ac:spMk id="63" creationId="{92290985-BD59-452B-A9FC-337909EB3EF9}"/>
          </ac:spMkLst>
        </pc:spChg>
        <pc:spChg chg="add del mod">
          <ac:chgData name="Nwokenna, Ola" userId="24fd04f5-1db1-4044-9d5a-a2564da48616" providerId="ADAL" clId="{069E6D5C-44E2-4543-A9E5-23AB25AAE2AA}" dt="2019-05-28T11:17:55.408" v="12561"/>
          <ac:spMkLst>
            <pc:docMk/>
            <pc:sldMk cId="649956191" sldId="633"/>
            <ac:spMk id="64" creationId="{0F605D02-44C0-4AA3-8D40-BEE0CFB4FDD6}"/>
          </ac:spMkLst>
        </pc:spChg>
        <pc:spChg chg="add del mod">
          <ac:chgData name="Nwokenna, Ola" userId="24fd04f5-1db1-4044-9d5a-a2564da48616" providerId="ADAL" clId="{069E6D5C-44E2-4543-A9E5-23AB25AAE2AA}" dt="2019-05-28T11:17:55.634" v="12614"/>
          <ac:spMkLst>
            <pc:docMk/>
            <pc:sldMk cId="649956191" sldId="633"/>
            <ac:spMk id="65" creationId="{86BDFFE2-01B5-425F-8419-10285AA2FE57}"/>
          </ac:spMkLst>
        </pc:spChg>
        <pc:spChg chg="add del mod">
          <ac:chgData name="Nwokenna, Ola" userId="24fd04f5-1db1-4044-9d5a-a2564da48616" providerId="ADAL" clId="{069E6D5C-44E2-4543-A9E5-23AB25AAE2AA}" dt="2019-05-28T11:17:55.832" v="12667"/>
          <ac:spMkLst>
            <pc:docMk/>
            <pc:sldMk cId="649956191" sldId="633"/>
            <ac:spMk id="66" creationId="{712EB1E8-FFE9-47DB-908F-C22286501CBB}"/>
          </ac:spMkLst>
        </pc:spChg>
        <pc:spChg chg="add del mod">
          <ac:chgData name="Nwokenna, Ola" userId="24fd04f5-1db1-4044-9d5a-a2564da48616" providerId="ADAL" clId="{069E6D5C-44E2-4543-A9E5-23AB25AAE2AA}" dt="2019-05-28T11:17:56.035" v="12720"/>
          <ac:spMkLst>
            <pc:docMk/>
            <pc:sldMk cId="649956191" sldId="633"/>
            <ac:spMk id="67" creationId="{CC82D983-E009-41C9-8C24-1E921EE2FF22}"/>
          </ac:spMkLst>
        </pc:spChg>
        <pc:spChg chg="add del mod">
          <ac:chgData name="Nwokenna, Ola" userId="24fd04f5-1db1-4044-9d5a-a2564da48616" providerId="ADAL" clId="{069E6D5C-44E2-4543-A9E5-23AB25AAE2AA}" dt="2019-05-28T11:17:56.237" v="12773"/>
          <ac:spMkLst>
            <pc:docMk/>
            <pc:sldMk cId="649956191" sldId="633"/>
            <ac:spMk id="68" creationId="{4F9EA384-B4FE-4AD4-B490-BC53470298A4}"/>
          </ac:spMkLst>
        </pc:spChg>
        <pc:spChg chg="add del mod">
          <ac:chgData name="Nwokenna, Ola" userId="24fd04f5-1db1-4044-9d5a-a2564da48616" providerId="ADAL" clId="{069E6D5C-44E2-4543-A9E5-23AB25AAE2AA}" dt="2019-05-28T11:17:56.427" v="12826"/>
          <ac:spMkLst>
            <pc:docMk/>
            <pc:sldMk cId="649956191" sldId="633"/>
            <ac:spMk id="69" creationId="{24DC9804-721C-48E2-9B72-468C5EB8443A}"/>
          </ac:spMkLst>
        </pc:spChg>
        <pc:spChg chg="add del mod">
          <ac:chgData name="Nwokenna, Ola" userId="24fd04f5-1db1-4044-9d5a-a2564da48616" providerId="ADAL" clId="{069E6D5C-44E2-4543-A9E5-23AB25AAE2AA}" dt="2019-05-28T11:17:56.613" v="12879"/>
          <ac:spMkLst>
            <pc:docMk/>
            <pc:sldMk cId="649956191" sldId="633"/>
            <ac:spMk id="70" creationId="{2E7E35C7-85C6-427B-8AEA-5C63BAB1F5AB}"/>
          </ac:spMkLst>
        </pc:spChg>
        <pc:spChg chg="add del mod">
          <ac:chgData name="Nwokenna, Ola" userId="24fd04f5-1db1-4044-9d5a-a2564da48616" providerId="ADAL" clId="{069E6D5C-44E2-4543-A9E5-23AB25AAE2AA}" dt="2019-05-28T11:17:56.810" v="12932"/>
          <ac:spMkLst>
            <pc:docMk/>
            <pc:sldMk cId="649956191" sldId="633"/>
            <ac:spMk id="71" creationId="{0B1CF898-1BAF-4F4E-B885-3211F71909F2}"/>
          </ac:spMkLst>
        </pc:spChg>
        <pc:spChg chg="add del mod">
          <ac:chgData name="Nwokenna, Ola" userId="24fd04f5-1db1-4044-9d5a-a2564da48616" providerId="ADAL" clId="{069E6D5C-44E2-4543-A9E5-23AB25AAE2AA}" dt="2019-05-28T11:17:56.974" v="12985"/>
          <ac:spMkLst>
            <pc:docMk/>
            <pc:sldMk cId="649956191" sldId="633"/>
            <ac:spMk id="72" creationId="{86431F2D-54C6-4AAC-AD98-BE5A99EACA87}"/>
          </ac:spMkLst>
        </pc:spChg>
        <pc:spChg chg="add del mod">
          <ac:chgData name="Nwokenna, Ola" userId="24fd04f5-1db1-4044-9d5a-a2564da48616" providerId="ADAL" clId="{069E6D5C-44E2-4543-A9E5-23AB25AAE2AA}" dt="2019-05-28T11:17:57.150" v="13038"/>
          <ac:spMkLst>
            <pc:docMk/>
            <pc:sldMk cId="649956191" sldId="633"/>
            <ac:spMk id="73" creationId="{F1EC0B84-CE3D-473E-8420-E8A3D4346DD8}"/>
          </ac:spMkLst>
        </pc:spChg>
        <pc:spChg chg="add del mod">
          <ac:chgData name="Nwokenna, Ola" userId="24fd04f5-1db1-4044-9d5a-a2564da48616" providerId="ADAL" clId="{069E6D5C-44E2-4543-A9E5-23AB25AAE2AA}" dt="2019-05-28T11:17:57.368" v="13101"/>
          <ac:spMkLst>
            <pc:docMk/>
            <pc:sldMk cId="649956191" sldId="633"/>
            <ac:spMk id="75" creationId="{373215FD-C4AF-4CA7-A7D9-6C0B66FB71E3}"/>
          </ac:spMkLst>
        </pc:spChg>
        <pc:spChg chg="add del mod">
          <ac:chgData name="Nwokenna, Ola" userId="24fd04f5-1db1-4044-9d5a-a2564da48616" providerId="ADAL" clId="{069E6D5C-44E2-4543-A9E5-23AB25AAE2AA}" dt="2019-05-28T11:17:57.501" v="13154"/>
          <ac:spMkLst>
            <pc:docMk/>
            <pc:sldMk cId="649956191" sldId="633"/>
            <ac:spMk id="76" creationId="{08DAFEBF-63A6-4A85-861F-38688153D679}"/>
          </ac:spMkLst>
        </pc:spChg>
        <pc:spChg chg="add del mod">
          <ac:chgData name="Nwokenna, Ola" userId="24fd04f5-1db1-4044-9d5a-a2564da48616" providerId="ADAL" clId="{069E6D5C-44E2-4543-A9E5-23AB25AAE2AA}" dt="2019-05-28T11:17:57.635" v="13207"/>
          <ac:spMkLst>
            <pc:docMk/>
            <pc:sldMk cId="649956191" sldId="633"/>
            <ac:spMk id="77" creationId="{C6CC57A2-41A1-4792-8BBF-4F0BF6624987}"/>
          </ac:spMkLst>
        </pc:spChg>
        <pc:spChg chg="add del mod">
          <ac:chgData name="Nwokenna, Ola" userId="24fd04f5-1db1-4044-9d5a-a2564da48616" providerId="ADAL" clId="{069E6D5C-44E2-4543-A9E5-23AB25AAE2AA}" dt="2019-05-28T11:17:57.764" v="13260"/>
          <ac:spMkLst>
            <pc:docMk/>
            <pc:sldMk cId="649956191" sldId="633"/>
            <ac:spMk id="78" creationId="{C4FDFD7A-EB7E-4279-BDC9-6F3DDFDF3C37}"/>
          </ac:spMkLst>
        </pc:spChg>
        <pc:spChg chg="add del mod">
          <ac:chgData name="Nwokenna, Ola" userId="24fd04f5-1db1-4044-9d5a-a2564da48616" providerId="ADAL" clId="{069E6D5C-44E2-4543-A9E5-23AB25AAE2AA}" dt="2019-05-28T11:17:57.887" v="13313"/>
          <ac:spMkLst>
            <pc:docMk/>
            <pc:sldMk cId="649956191" sldId="633"/>
            <ac:spMk id="79" creationId="{FC80CD70-6B76-4258-9C02-E0CB75139114}"/>
          </ac:spMkLst>
        </pc:spChg>
        <pc:spChg chg="add del mod">
          <ac:chgData name="Nwokenna, Ola" userId="24fd04f5-1db1-4044-9d5a-a2564da48616" providerId="ADAL" clId="{069E6D5C-44E2-4543-A9E5-23AB25AAE2AA}" dt="2019-05-28T11:17:58.006" v="13366"/>
          <ac:spMkLst>
            <pc:docMk/>
            <pc:sldMk cId="649956191" sldId="633"/>
            <ac:spMk id="80" creationId="{047EA238-366B-407C-B179-6DAFF31A5773}"/>
          </ac:spMkLst>
        </pc:spChg>
        <pc:spChg chg="add del mod">
          <ac:chgData name="Nwokenna, Ola" userId="24fd04f5-1db1-4044-9d5a-a2564da48616" providerId="ADAL" clId="{069E6D5C-44E2-4543-A9E5-23AB25AAE2AA}" dt="2019-05-28T11:17:58.126" v="13419"/>
          <ac:spMkLst>
            <pc:docMk/>
            <pc:sldMk cId="649956191" sldId="633"/>
            <ac:spMk id="81" creationId="{686C26B7-E39C-454D-9C63-30849A9DA888}"/>
          </ac:spMkLst>
        </pc:spChg>
        <pc:spChg chg="add del mod">
          <ac:chgData name="Nwokenna, Ola" userId="24fd04f5-1db1-4044-9d5a-a2564da48616" providerId="ADAL" clId="{069E6D5C-44E2-4543-A9E5-23AB25AAE2AA}" dt="2019-05-28T11:17:58.243" v="13472"/>
          <ac:spMkLst>
            <pc:docMk/>
            <pc:sldMk cId="649956191" sldId="633"/>
            <ac:spMk id="82" creationId="{75A9B556-C653-4AC3-B0D9-DFB257D26303}"/>
          </ac:spMkLst>
        </pc:spChg>
        <pc:spChg chg="add del mod">
          <ac:chgData name="Nwokenna, Ola" userId="24fd04f5-1db1-4044-9d5a-a2564da48616" providerId="ADAL" clId="{069E6D5C-44E2-4543-A9E5-23AB25AAE2AA}" dt="2019-05-28T11:17:58.363" v="13525"/>
          <ac:spMkLst>
            <pc:docMk/>
            <pc:sldMk cId="649956191" sldId="633"/>
            <ac:spMk id="83" creationId="{FFDA543C-B4DD-44E7-A32B-178DF9C50BB5}"/>
          </ac:spMkLst>
        </pc:spChg>
        <pc:spChg chg="add del mod">
          <ac:chgData name="Nwokenna, Ola" userId="24fd04f5-1db1-4044-9d5a-a2564da48616" providerId="ADAL" clId="{069E6D5C-44E2-4543-A9E5-23AB25AAE2AA}" dt="2019-05-28T11:17:58.473" v="13578"/>
          <ac:spMkLst>
            <pc:docMk/>
            <pc:sldMk cId="649956191" sldId="633"/>
            <ac:spMk id="84" creationId="{64A0BE0A-0B32-4BF1-98C1-6073C3625545}"/>
          </ac:spMkLst>
        </pc:spChg>
        <pc:spChg chg="add del mod">
          <ac:chgData name="Nwokenna, Ola" userId="24fd04f5-1db1-4044-9d5a-a2564da48616" providerId="ADAL" clId="{069E6D5C-44E2-4543-A9E5-23AB25AAE2AA}" dt="2019-05-28T11:17:58.613" v="13634"/>
          <ac:spMkLst>
            <pc:docMk/>
            <pc:sldMk cId="649956191" sldId="633"/>
            <ac:spMk id="86" creationId="{26F8BE73-D750-4CAD-909F-51E8DFF6C2FA}"/>
          </ac:spMkLst>
        </pc:spChg>
        <pc:spChg chg="add del mod">
          <ac:chgData name="Nwokenna, Ola" userId="24fd04f5-1db1-4044-9d5a-a2564da48616" providerId="ADAL" clId="{069E6D5C-44E2-4543-A9E5-23AB25AAE2AA}" dt="2019-05-28T11:17:58.724" v="13687"/>
          <ac:spMkLst>
            <pc:docMk/>
            <pc:sldMk cId="649956191" sldId="633"/>
            <ac:spMk id="87" creationId="{88BF733A-99AC-47C5-A964-8700FAB5AF9E}"/>
          </ac:spMkLst>
        </pc:spChg>
        <pc:spChg chg="add del mod">
          <ac:chgData name="Nwokenna, Ola" userId="24fd04f5-1db1-4044-9d5a-a2564da48616" providerId="ADAL" clId="{069E6D5C-44E2-4543-A9E5-23AB25AAE2AA}" dt="2019-05-28T11:17:58.841" v="13740"/>
          <ac:spMkLst>
            <pc:docMk/>
            <pc:sldMk cId="649956191" sldId="633"/>
            <ac:spMk id="88" creationId="{FC302014-B3BC-4561-B741-9FFE41E046C6}"/>
          </ac:spMkLst>
        </pc:spChg>
        <pc:spChg chg="add del mod">
          <ac:chgData name="Nwokenna, Ola" userId="24fd04f5-1db1-4044-9d5a-a2564da48616" providerId="ADAL" clId="{069E6D5C-44E2-4543-A9E5-23AB25AAE2AA}" dt="2019-05-28T11:17:58.963" v="13793"/>
          <ac:spMkLst>
            <pc:docMk/>
            <pc:sldMk cId="649956191" sldId="633"/>
            <ac:spMk id="89" creationId="{AFA402AA-FFEF-45A6-BE21-6F216620BEDF}"/>
          </ac:spMkLst>
        </pc:spChg>
        <pc:spChg chg="add del mod">
          <ac:chgData name="Nwokenna, Ola" userId="24fd04f5-1db1-4044-9d5a-a2564da48616" providerId="ADAL" clId="{069E6D5C-44E2-4543-A9E5-23AB25AAE2AA}" dt="2019-05-28T11:17:59.092" v="13846"/>
          <ac:spMkLst>
            <pc:docMk/>
            <pc:sldMk cId="649956191" sldId="633"/>
            <ac:spMk id="90" creationId="{BEA5ADE6-9F94-4BE4-BA76-1AD86625A015}"/>
          </ac:spMkLst>
        </pc:spChg>
        <pc:spChg chg="add del mod">
          <ac:chgData name="Nwokenna, Ola" userId="24fd04f5-1db1-4044-9d5a-a2564da48616" providerId="ADAL" clId="{069E6D5C-44E2-4543-A9E5-23AB25AAE2AA}" dt="2019-05-28T11:17:59.225" v="13899"/>
          <ac:spMkLst>
            <pc:docMk/>
            <pc:sldMk cId="649956191" sldId="633"/>
            <ac:spMk id="91" creationId="{BA0DEBBC-BC7E-408A-996E-4EFFBFFCBB1A}"/>
          </ac:spMkLst>
        </pc:spChg>
        <pc:spChg chg="add del mod">
          <ac:chgData name="Nwokenna, Ola" userId="24fd04f5-1db1-4044-9d5a-a2564da48616" providerId="ADAL" clId="{069E6D5C-44E2-4543-A9E5-23AB25AAE2AA}" dt="2019-05-28T11:17:59.350" v="13952"/>
          <ac:spMkLst>
            <pc:docMk/>
            <pc:sldMk cId="649956191" sldId="633"/>
            <ac:spMk id="92" creationId="{10E5D31B-B827-498A-A99B-FCE540A13C89}"/>
          </ac:spMkLst>
        </pc:spChg>
        <pc:spChg chg="add del mod">
          <ac:chgData name="Nwokenna, Ola" userId="24fd04f5-1db1-4044-9d5a-a2564da48616" providerId="ADAL" clId="{069E6D5C-44E2-4543-A9E5-23AB25AAE2AA}" dt="2019-05-28T11:17:59.472" v="14005"/>
          <ac:spMkLst>
            <pc:docMk/>
            <pc:sldMk cId="649956191" sldId="633"/>
            <ac:spMk id="93" creationId="{D4827921-E153-483C-A8EA-6CB52B9EC136}"/>
          </ac:spMkLst>
        </pc:spChg>
        <pc:spChg chg="add del mod">
          <ac:chgData name="Nwokenna, Ola" userId="24fd04f5-1db1-4044-9d5a-a2564da48616" providerId="ADAL" clId="{069E6D5C-44E2-4543-A9E5-23AB25AAE2AA}" dt="2019-05-28T11:17:59.586" v="14058"/>
          <ac:spMkLst>
            <pc:docMk/>
            <pc:sldMk cId="649956191" sldId="633"/>
            <ac:spMk id="94" creationId="{09124423-2E5C-4171-997C-B1C2DC3526BE}"/>
          </ac:spMkLst>
        </pc:spChg>
        <pc:spChg chg="add del mod">
          <ac:chgData name="Nwokenna, Ola" userId="24fd04f5-1db1-4044-9d5a-a2564da48616" providerId="ADAL" clId="{069E6D5C-44E2-4543-A9E5-23AB25AAE2AA}" dt="2019-05-28T11:17:59.710" v="14111"/>
          <ac:spMkLst>
            <pc:docMk/>
            <pc:sldMk cId="649956191" sldId="633"/>
            <ac:spMk id="95" creationId="{842E7742-DFED-4D41-9771-4CA40C8018C0}"/>
          </ac:spMkLst>
        </pc:spChg>
        <pc:spChg chg="add mod ord">
          <ac:chgData name="Nwokenna, Ola" userId="24fd04f5-1db1-4044-9d5a-a2564da48616" providerId="ADAL" clId="{069E6D5C-44E2-4543-A9E5-23AB25AAE2AA}" dt="2019-05-28T12:33:51.881" v="42752"/>
          <ac:spMkLst>
            <pc:docMk/>
            <pc:sldMk cId="649956191" sldId="633"/>
            <ac:spMk id="97" creationId="{FBB75FFC-BAB9-4A6B-8F03-6355B11E6661}"/>
          </ac:spMkLst>
        </pc:spChg>
        <pc:spChg chg="add del mod ord">
          <ac:chgData name="Nwokenna, Ola" userId="24fd04f5-1db1-4044-9d5a-a2564da48616" providerId="ADAL" clId="{069E6D5C-44E2-4543-A9E5-23AB25AAE2AA}" dt="2019-05-28T11:18:44.911" v="14735"/>
          <ac:spMkLst>
            <pc:docMk/>
            <pc:sldMk cId="649956191" sldId="633"/>
            <ac:spMk id="98" creationId="{024C2C45-CF41-48CF-B9BF-FBB9CBB7E57F}"/>
          </ac:spMkLst>
        </pc:spChg>
        <pc:spChg chg="add del mod ord">
          <ac:chgData name="Nwokenna, Ola" userId="24fd04f5-1db1-4044-9d5a-a2564da48616" providerId="ADAL" clId="{069E6D5C-44E2-4543-A9E5-23AB25AAE2AA}" dt="2019-05-28T11:18:44.919" v="14737"/>
          <ac:spMkLst>
            <pc:docMk/>
            <pc:sldMk cId="649956191" sldId="633"/>
            <ac:spMk id="99" creationId="{A8ABF00C-2369-466E-BEFB-765DC59D7913}"/>
          </ac:spMkLst>
        </pc:spChg>
        <pc:spChg chg="add del mod ord">
          <ac:chgData name="Nwokenna, Ola" userId="24fd04f5-1db1-4044-9d5a-a2564da48616" providerId="ADAL" clId="{069E6D5C-44E2-4543-A9E5-23AB25AAE2AA}" dt="2019-05-28T11:19:12.251" v="14989"/>
          <ac:spMkLst>
            <pc:docMk/>
            <pc:sldMk cId="649956191" sldId="633"/>
            <ac:spMk id="103" creationId="{AF5C7E39-B749-4C21-8CBE-625E6E9DC5A9}"/>
          </ac:spMkLst>
        </pc:spChg>
        <pc:spChg chg="add del mod ord">
          <ac:chgData name="Nwokenna, Ola" userId="24fd04f5-1db1-4044-9d5a-a2564da48616" providerId="ADAL" clId="{069E6D5C-44E2-4543-A9E5-23AB25AAE2AA}" dt="2019-05-28T11:19:12.255" v="14993"/>
          <ac:spMkLst>
            <pc:docMk/>
            <pc:sldMk cId="649956191" sldId="633"/>
            <ac:spMk id="104" creationId="{42B659FE-90C8-446E-8282-B32A1F592ED4}"/>
          </ac:spMkLst>
        </pc:spChg>
        <pc:spChg chg="add del mod ord">
          <ac:chgData name="Nwokenna, Ola" userId="24fd04f5-1db1-4044-9d5a-a2564da48616" providerId="ADAL" clId="{069E6D5C-44E2-4543-A9E5-23AB25AAE2AA}" dt="2019-05-28T11:19:12.248" v="14987"/>
          <ac:spMkLst>
            <pc:docMk/>
            <pc:sldMk cId="649956191" sldId="633"/>
            <ac:spMk id="106" creationId="{8CB62A8C-E4BB-455E-BC2E-6D9DC2CBFC1A}"/>
          </ac:spMkLst>
        </pc:spChg>
        <pc:spChg chg="add del mod ord">
          <ac:chgData name="Nwokenna, Ola" userId="24fd04f5-1db1-4044-9d5a-a2564da48616" providerId="ADAL" clId="{069E6D5C-44E2-4543-A9E5-23AB25AAE2AA}" dt="2019-05-28T11:19:12.253" v="14991"/>
          <ac:spMkLst>
            <pc:docMk/>
            <pc:sldMk cId="649956191" sldId="633"/>
            <ac:spMk id="107" creationId="{C025FB32-9631-4851-96DA-DEAC5B17A422}"/>
          </ac:spMkLst>
        </pc:spChg>
        <pc:spChg chg="add mod ord">
          <ac:chgData name="Nwokenna, Ola" userId="24fd04f5-1db1-4044-9d5a-a2564da48616" providerId="ADAL" clId="{069E6D5C-44E2-4543-A9E5-23AB25AAE2AA}" dt="2019-05-28T12:33:51.883" v="42754"/>
          <ac:spMkLst>
            <pc:docMk/>
            <pc:sldMk cId="649956191" sldId="633"/>
            <ac:spMk id="109" creationId="{D692ECCB-AE5F-4652-B5AC-0DCABA571490}"/>
          </ac:spMkLst>
        </pc:spChg>
        <pc:spChg chg="add mod ord">
          <ac:chgData name="Nwokenna, Ola" userId="24fd04f5-1db1-4044-9d5a-a2564da48616" providerId="ADAL" clId="{069E6D5C-44E2-4543-A9E5-23AB25AAE2AA}" dt="2019-05-28T12:33:51.884" v="42756"/>
          <ac:spMkLst>
            <pc:docMk/>
            <pc:sldMk cId="649956191" sldId="633"/>
            <ac:spMk id="111" creationId="{3E1CA86E-D69D-4E7C-A021-28DBF29F97D3}"/>
          </ac:spMkLst>
        </pc:spChg>
        <pc:spChg chg="add mod ord">
          <ac:chgData name="Nwokenna, Ola" userId="24fd04f5-1db1-4044-9d5a-a2564da48616" providerId="ADAL" clId="{069E6D5C-44E2-4543-A9E5-23AB25AAE2AA}" dt="2019-05-28T12:33:51.909" v="42772"/>
          <ac:spMkLst>
            <pc:docMk/>
            <pc:sldMk cId="649956191" sldId="633"/>
            <ac:spMk id="117" creationId="{642E57FA-5BC2-4535-8B96-589D83B56A45}"/>
          </ac:spMkLst>
        </pc:spChg>
        <pc:spChg chg="add mod ord">
          <ac:chgData name="Nwokenna, Ola" userId="24fd04f5-1db1-4044-9d5a-a2564da48616" providerId="ADAL" clId="{069E6D5C-44E2-4543-A9E5-23AB25AAE2AA}" dt="2019-05-28T12:33:51.911" v="42774"/>
          <ac:spMkLst>
            <pc:docMk/>
            <pc:sldMk cId="649956191" sldId="633"/>
            <ac:spMk id="118" creationId="{31897082-CE70-4110-8017-0CAC56F99A5E}"/>
          </ac:spMkLst>
        </pc:spChg>
        <pc:spChg chg="add mod ord">
          <ac:chgData name="Nwokenna, Ola" userId="24fd04f5-1db1-4044-9d5a-a2564da48616" providerId="ADAL" clId="{069E6D5C-44E2-4543-A9E5-23AB25AAE2AA}" dt="2019-05-28T12:33:51.912" v="42776"/>
          <ac:spMkLst>
            <pc:docMk/>
            <pc:sldMk cId="649956191" sldId="633"/>
            <ac:spMk id="119" creationId="{2409E370-B84D-4C50-955E-4B09C76C1B82}"/>
          </ac:spMkLst>
        </pc:spChg>
        <pc:spChg chg="add mod ord">
          <ac:chgData name="Nwokenna, Ola" userId="24fd04f5-1db1-4044-9d5a-a2564da48616" providerId="ADAL" clId="{069E6D5C-44E2-4543-A9E5-23AB25AAE2AA}" dt="2019-05-28T12:33:51.913" v="42778"/>
          <ac:spMkLst>
            <pc:docMk/>
            <pc:sldMk cId="649956191" sldId="633"/>
            <ac:spMk id="120" creationId="{3874D667-74C3-4F9B-BCA0-24CD2C35D9EF}"/>
          </ac:spMkLst>
        </pc:spChg>
        <pc:spChg chg="add mod ord">
          <ac:chgData name="Nwokenna, Ola" userId="24fd04f5-1db1-4044-9d5a-a2564da48616" providerId="ADAL" clId="{069E6D5C-44E2-4543-A9E5-23AB25AAE2AA}" dt="2019-05-28T12:33:51.907" v="42770"/>
          <ac:spMkLst>
            <pc:docMk/>
            <pc:sldMk cId="649956191" sldId="633"/>
            <ac:spMk id="121" creationId="{C6CF97AA-6328-45B6-BA08-3016C3FAA4C4}"/>
          </ac:spMkLst>
        </pc:spChg>
        <pc:spChg chg="add del mod ord">
          <ac:chgData name="Nwokenna, Ola" userId="24fd04f5-1db1-4044-9d5a-a2564da48616" providerId="ADAL" clId="{069E6D5C-44E2-4543-A9E5-23AB25AAE2AA}" dt="2019-05-28T11:19:48.399" v="16432"/>
          <ac:spMkLst>
            <pc:docMk/>
            <pc:sldMk cId="649956191" sldId="633"/>
            <ac:spMk id="122" creationId="{AB6CE344-B77C-457B-9754-DC8248276C03}"/>
          </ac:spMkLst>
        </pc:spChg>
        <pc:spChg chg="add del mod ord">
          <ac:chgData name="Nwokenna, Ola" userId="24fd04f5-1db1-4044-9d5a-a2564da48616" providerId="ADAL" clId="{069E6D5C-44E2-4543-A9E5-23AB25AAE2AA}" dt="2019-05-28T11:19:48.402" v="16436"/>
          <ac:spMkLst>
            <pc:docMk/>
            <pc:sldMk cId="649956191" sldId="633"/>
            <ac:spMk id="123" creationId="{1E56D7DE-0522-4267-9A84-4C1B68FA7836}"/>
          </ac:spMkLst>
        </pc:spChg>
        <pc:spChg chg="add del mod ord">
          <ac:chgData name="Nwokenna, Ola" userId="24fd04f5-1db1-4044-9d5a-a2564da48616" providerId="ADAL" clId="{069E6D5C-44E2-4543-A9E5-23AB25AAE2AA}" dt="2019-05-28T11:19:48.408" v="16440"/>
          <ac:spMkLst>
            <pc:docMk/>
            <pc:sldMk cId="649956191" sldId="633"/>
            <ac:spMk id="124" creationId="{7C604575-6966-4A7C-A6C8-17D6D1D8E5EF}"/>
          </ac:spMkLst>
        </pc:spChg>
        <pc:spChg chg="add del mod ord">
          <ac:chgData name="Nwokenna, Ola" userId="24fd04f5-1db1-4044-9d5a-a2564da48616" providerId="ADAL" clId="{069E6D5C-44E2-4543-A9E5-23AB25AAE2AA}" dt="2019-05-28T11:19:48.413" v="16444"/>
          <ac:spMkLst>
            <pc:docMk/>
            <pc:sldMk cId="649956191" sldId="633"/>
            <ac:spMk id="125" creationId="{8A749C2F-AF6C-451A-A7B8-D595F63790C1}"/>
          </ac:spMkLst>
        </pc:spChg>
        <pc:spChg chg="add del mod ord">
          <ac:chgData name="Nwokenna, Ola" userId="24fd04f5-1db1-4044-9d5a-a2564da48616" providerId="ADAL" clId="{069E6D5C-44E2-4543-A9E5-23AB25AAE2AA}" dt="2019-05-28T11:19:48.417" v="16448"/>
          <ac:spMkLst>
            <pc:docMk/>
            <pc:sldMk cId="649956191" sldId="633"/>
            <ac:spMk id="126" creationId="{6F7BEFCC-2178-4BB6-AAF5-89F546B643FA}"/>
          </ac:spMkLst>
        </pc:spChg>
        <pc:spChg chg="add del mod ord">
          <ac:chgData name="Nwokenna, Ola" userId="24fd04f5-1db1-4044-9d5a-a2564da48616" providerId="ADAL" clId="{069E6D5C-44E2-4543-A9E5-23AB25AAE2AA}" dt="2019-05-28T11:19:48.419" v="16450"/>
          <ac:spMkLst>
            <pc:docMk/>
            <pc:sldMk cId="649956191" sldId="633"/>
            <ac:spMk id="127" creationId="{0D0164F9-54D4-4C8C-BD15-EE2E4AD882F2}"/>
          </ac:spMkLst>
        </pc:spChg>
        <pc:spChg chg="add del mod ord">
          <ac:chgData name="Nwokenna, Ola" userId="24fd04f5-1db1-4044-9d5a-a2564da48616" providerId="ADAL" clId="{069E6D5C-44E2-4543-A9E5-23AB25AAE2AA}" dt="2019-05-28T11:19:45.927" v="16275"/>
          <ac:spMkLst>
            <pc:docMk/>
            <pc:sldMk cId="649956191" sldId="633"/>
            <ac:spMk id="128" creationId="{5DD7F1E0-5054-4EF1-9805-C24B8BB8C9C5}"/>
          </ac:spMkLst>
        </pc:spChg>
        <pc:spChg chg="add del mod ord">
          <ac:chgData name="Nwokenna, Ola" userId="24fd04f5-1db1-4044-9d5a-a2564da48616" providerId="ADAL" clId="{069E6D5C-44E2-4543-A9E5-23AB25AAE2AA}" dt="2019-05-28T11:19:48.421" v="16452"/>
          <ac:spMkLst>
            <pc:docMk/>
            <pc:sldMk cId="649956191" sldId="633"/>
            <ac:spMk id="129" creationId="{4560759F-5E10-443A-BF19-82775D1D9401}"/>
          </ac:spMkLst>
        </pc:spChg>
        <pc:spChg chg="add mod ord">
          <ac:chgData name="Nwokenna, Ola" userId="24fd04f5-1db1-4044-9d5a-a2564da48616" providerId="ADAL" clId="{069E6D5C-44E2-4543-A9E5-23AB25AAE2AA}" dt="2019-05-28T12:33:51.900" v="42762"/>
          <ac:spMkLst>
            <pc:docMk/>
            <pc:sldMk cId="649956191" sldId="633"/>
            <ac:spMk id="131" creationId="{D28BB5B6-3C65-4566-BD38-F551BB8380E4}"/>
          </ac:spMkLst>
        </pc:spChg>
        <pc:spChg chg="add mod ord">
          <ac:chgData name="Nwokenna, Ola" userId="24fd04f5-1db1-4044-9d5a-a2564da48616" providerId="ADAL" clId="{069E6D5C-44E2-4543-A9E5-23AB25AAE2AA}" dt="2019-05-28T12:33:51.888" v="42760"/>
          <ac:spMkLst>
            <pc:docMk/>
            <pc:sldMk cId="649956191" sldId="633"/>
            <ac:spMk id="132" creationId="{E4742F02-BCA2-4630-81CF-1299B5A597BE}"/>
          </ac:spMkLst>
        </pc:spChg>
        <pc:spChg chg="add mod ord">
          <ac:chgData name="Nwokenna, Ola" userId="24fd04f5-1db1-4044-9d5a-a2564da48616" providerId="ADAL" clId="{069E6D5C-44E2-4543-A9E5-23AB25AAE2AA}" dt="2019-05-28T12:33:51.902" v="42764"/>
          <ac:spMkLst>
            <pc:docMk/>
            <pc:sldMk cId="649956191" sldId="633"/>
            <ac:spMk id="133" creationId="{2E799CFE-BCB4-4108-8DF7-BDA6AFE52FC5}"/>
          </ac:spMkLst>
        </pc:spChg>
        <pc:spChg chg="add mod ord">
          <ac:chgData name="Nwokenna, Ola" userId="24fd04f5-1db1-4044-9d5a-a2564da48616" providerId="ADAL" clId="{069E6D5C-44E2-4543-A9E5-23AB25AAE2AA}" dt="2019-05-28T12:33:51.903" v="42766"/>
          <ac:spMkLst>
            <pc:docMk/>
            <pc:sldMk cId="649956191" sldId="633"/>
            <ac:spMk id="134" creationId="{3B2EF8AE-35A9-428D-AA76-33C3C89BE9A5}"/>
          </ac:spMkLst>
        </pc:spChg>
        <pc:spChg chg="add mod ord">
          <ac:chgData name="Nwokenna, Ola" userId="24fd04f5-1db1-4044-9d5a-a2564da48616" providerId="ADAL" clId="{069E6D5C-44E2-4543-A9E5-23AB25AAE2AA}" dt="2019-05-28T12:33:51.905" v="42768"/>
          <ac:spMkLst>
            <pc:docMk/>
            <pc:sldMk cId="649956191" sldId="633"/>
            <ac:spMk id="135" creationId="{4D5B071E-7E4F-48D4-A07C-B05D514DAB7A}"/>
          </ac:spMkLst>
        </pc:spChg>
        <pc:spChg chg="add del mod ord">
          <ac:chgData name="Nwokenna, Ola" userId="24fd04f5-1db1-4044-9d5a-a2564da48616" providerId="ADAL" clId="{069E6D5C-44E2-4543-A9E5-23AB25AAE2AA}" dt="2019-05-28T11:19:48.385" v="16430"/>
          <ac:spMkLst>
            <pc:docMk/>
            <pc:sldMk cId="649956191" sldId="633"/>
            <ac:spMk id="136" creationId="{15255DC6-2CDF-45D1-99AC-D869E3774A68}"/>
          </ac:spMkLst>
        </pc:spChg>
        <pc:spChg chg="add del mod ord">
          <ac:chgData name="Nwokenna, Ola" userId="24fd04f5-1db1-4044-9d5a-a2564da48616" providerId="ADAL" clId="{069E6D5C-44E2-4543-A9E5-23AB25AAE2AA}" dt="2019-05-28T11:19:48.401" v="16434"/>
          <ac:spMkLst>
            <pc:docMk/>
            <pc:sldMk cId="649956191" sldId="633"/>
            <ac:spMk id="137" creationId="{DBD6C454-66B3-4D63-AA42-5E846A195EA6}"/>
          </ac:spMkLst>
        </pc:spChg>
        <pc:spChg chg="add del mod ord">
          <ac:chgData name="Nwokenna, Ola" userId="24fd04f5-1db1-4044-9d5a-a2564da48616" providerId="ADAL" clId="{069E6D5C-44E2-4543-A9E5-23AB25AAE2AA}" dt="2019-05-28T11:19:48.404" v="16438"/>
          <ac:spMkLst>
            <pc:docMk/>
            <pc:sldMk cId="649956191" sldId="633"/>
            <ac:spMk id="138" creationId="{E5696B61-5B8F-430E-ACFE-F6ED772E03E2}"/>
          </ac:spMkLst>
        </pc:spChg>
        <pc:spChg chg="add del mod ord">
          <ac:chgData name="Nwokenna, Ola" userId="24fd04f5-1db1-4044-9d5a-a2564da48616" providerId="ADAL" clId="{069E6D5C-44E2-4543-A9E5-23AB25AAE2AA}" dt="2019-05-28T11:19:48.411" v="16442"/>
          <ac:spMkLst>
            <pc:docMk/>
            <pc:sldMk cId="649956191" sldId="633"/>
            <ac:spMk id="139" creationId="{5866D023-6621-427D-975F-E2FBA21BCBA4}"/>
          </ac:spMkLst>
        </pc:spChg>
        <pc:spChg chg="add del mod ord">
          <ac:chgData name="Nwokenna, Ola" userId="24fd04f5-1db1-4044-9d5a-a2564da48616" providerId="ADAL" clId="{069E6D5C-44E2-4543-A9E5-23AB25AAE2AA}" dt="2019-05-28T11:19:48.415" v="16446"/>
          <ac:spMkLst>
            <pc:docMk/>
            <pc:sldMk cId="649956191" sldId="633"/>
            <ac:spMk id="140" creationId="{16F8F05D-BED8-4DED-9674-142A5D901F89}"/>
          </ac:spMkLst>
        </pc:spChg>
        <pc:spChg chg="add del mod ord">
          <ac:chgData name="Nwokenna, Ola" userId="24fd04f5-1db1-4044-9d5a-a2564da48616" providerId="ADAL" clId="{069E6D5C-44E2-4543-A9E5-23AB25AAE2AA}" dt="2019-05-28T12:33:38.139" v="41985"/>
          <ac:spMkLst>
            <pc:docMk/>
            <pc:sldMk cId="649956191" sldId="633"/>
            <ac:spMk id="143" creationId="{D75C7416-7644-4605-B6AE-212201793996}"/>
          </ac:spMkLst>
        </pc:spChg>
        <pc:spChg chg="add del mod ord">
          <ac:chgData name="Nwokenna, Ola" userId="24fd04f5-1db1-4044-9d5a-a2564da48616" providerId="ADAL" clId="{069E6D5C-44E2-4543-A9E5-23AB25AAE2AA}" dt="2019-05-28T12:33:40.114" v="42063"/>
          <ac:spMkLst>
            <pc:docMk/>
            <pc:sldMk cId="649956191" sldId="633"/>
            <ac:spMk id="145" creationId="{75C14128-E2D0-4EE9-B82A-44E20756B789}"/>
          </ac:spMkLst>
        </pc:spChg>
        <pc:spChg chg="add mod ord">
          <ac:chgData name="Nwokenna, Ola" userId="24fd04f5-1db1-4044-9d5a-a2564da48616" providerId="ADAL" clId="{069E6D5C-44E2-4543-A9E5-23AB25AAE2AA}" dt="2019-05-28T12:33:51.886" v="42758"/>
          <ac:spMkLst>
            <pc:docMk/>
            <pc:sldMk cId="649956191" sldId="633"/>
            <ac:spMk id="146" creationId="{549AC91D-2FDE-440B-BEFA-477790C44B40}"/>
          </ac:spMkLst>
        </pc:spChg>
        <pc:spChg chg="add del mod ord">
          <ac:chgData name="Nwokenna, Ola" userId="24fd04f5-1db1-4044-9d5a-a2564da48616" providerId="ADAL" clId="{069E6D5C-44E2-4543-A9E5-23AB25AAE2AA}" dt="2019-05-28T12:33:51.915" v="42780"/>
          <ac:spMkLst>
            <pc:docMk/>
            <pc:sldMk cId="649956191" sldId="633"/>
            <ac:spMk id="155" creationId="{3848C6C1-832F-46E6-8326-D3D20FAC61B8}"/>
          </ac:spMkLst>
        </pc:spChg>
        <pc:spChg chg="add mod ord">
          <ac:chgData name="Nwokenna, Ola" userId="24fd04f5-1db1-4044-9d5a-a2564da48616" providerId="ADAL" clId="{069E6D5C-44E2-4543-A9E5-23AB25AAE2AA}" dt="2019-05-28T12:33:51.916" v="42782"/>
          <ac:spMkLst>
            <pc:docMk/>
            <pc:sldMk cId="649956191" sldId="633"/>
            <ac:spMk id="156" creationId="{4A076EFE-508D-4407-B8BE-89487E58A5B9}"/>
          </ac:spMkLst>
        </pc:spChg>
        <pc:spChg chg="add mod ord">
          <ac:chgData name="Nwokenna, Ola" userId="24fd04f5-1db1-4044-9d5a-a2564da48616" providerId="ADAL" clId="{069E6D5C-44E2-4543-A9E5-23AB25AAE2AA}" dt="2019-05-28T12:33:51.917" v="42784"/>
          <ac:spMkLst>
            <pc:docMk/>
            <pc:sldMk cId="649956191" sldId="633"/>
            <ac:spMk id="157" creationId="{09555866-F31B-40AD-A2B5-1A0BB1817FE8}"/>
          </ac:spMkLst>
        </pc:spChg>
        <pc:spChg chg="add mod ord">
          <ac:chgData name="Nwokenna, Ola" userId="24fd04f5-1db1-4044-9d5a-a2564da48616" providerId="ADAL" clId="{069E6D5C-44E2-4543-A9E5-23AB25AAE2AA}" dt="2019-05-28T12:33:51.919" v="42786"/>
          <ac:spMkLst>
            <pc:docMk/>
            <pc:sldMk cId="649956191" sldId="633"/>
            <ac:spMk id="158" creationId="{7E9F29EB-68AF-4900-9DF5-5AAEAE4120E1}"/>
          </ac:spMkLst>
        </pc:spChg>
        <pc:spChg chg="add mod ord">
          <ac:chgData name="Nwokenna, Ola" userId="24fd04f5-1db1-4044-9d5a-a2564da48616" providerId="ADAL" clId="{069E6D5C-44E2-4543-A9E5-23AB25AAE2AA}" dt="2019-05-28T12:33:51.920" v="42788"/>
          <ac:spMkLst>
            <pc:docMk/>
            <pc:sldMk cId="649956191" sldId="633"/>
            <ac:spMk id="159" creationId="{9748CDC4-9766-4953-93B7-7FE25B22E679}"/>
          </ac:spMkLst>
        </pc:spChg>
        <pc:spChg chg="add mod ord">
          <ac:chgData name="Nwokenna, Ola" userId="24fd04f5-1db1-4044-9d5a-a2564da48616" providerId="ADAL" clId="{069E6D5C-44E2-4543-A9E5-23AB25AAE2AA}" dt="2019-05-28T12:33:51.922" v="42790"/>
          <ac:spMkLst>
            <pc:docMk/>
            <pc:sldMk cId="649956191" sldId="633"/>
            <ac:spMk id="160" creationId="{1063686F-254B-4A4E-931D-A0CE7FD11A8D}"/>
          </ac:spMkLst>
        </pc:spChg>
        <pc:spChg chg="add mod ord">
          <ac:chgData name="Nwokenna, Ola" userId="24fd04f5-1db1-4044-9d5a-a2564da48616" providerId="ADAL" clId="{069E6D5C-44E2-4543-A9E5-23AB25AAE2AA}" dt="2019-05-28T12:33:51.868" v="42742"/>
          <ac:spMkLst>
            <pc:docMk/>
            <pc:sldMk cId="649956191" sldId="633"/>
            <ac:spMk id="172" creationId="{68B80AF4-A75D-4AA4-AF1F-D55C1A044B2D}"/>
          </ac:spMkLst>
        </pc:spChg>
        <pc:spChg chg="add mod ord">
          <ac:chgData name="Nwokenna, Ola" userId="24fd04f5-1db1-4044-9d5a-a2564da48616" providerId="ADAL" clId="{069E6D5C-44E2-4543-A9E5-23AB25AAE2AA}" dt="2019-05-28T12:33:51.870" v="42744"/>
          <ac:spMkLst>
            <pc:docMk/>
            <pc:sldMk cId="649956191" sldId="633"/>
            <ac:spMk id="173" creationId="{B289176A-8871-4573-99E8-1C46CDE38324}"/>
          </ac:spMkLst>
        </pc:spChg>
        <pc:spChg chg="add mod ord">
          <ac:chgData name="Nwokenna, Ola" userId="24fd04f5-1db1-4044-9d5a-a2564da48616" providerId="ADAL" clId="{069E6D5C-44E2-4543-A9E5-23AB25AAE2AA}" dt="2019-05-28T12:33:51.866" v="42740"/>
          <ac:spMkLst>
            <pc:docMk/>
            <pc:sldMk cId="649956191" sldId="633"/>
            <ac:spMk id="174" creationId="{3A06DE09-FEC1-4E7D-85E3-D106BE9E8AC6}"/>
          </ac:spMkLst>
        </pc:spChg>
        <pc:spChg chg="add mod ord">
          <ac:chgData name="Nwokenna, Ola" userId="24fd04f5-1db1-4044-9d5a-a2564da48616" providerId="ADAL" clId="{069E6D5C-44E2-4543-A9E5-23AB25AAE2AA}" dt="2019-05-28T12:33:51.871" v="42746"/>
          <ac:spMkLst>
            <pc:docMk/>
            <pc:sldMk cId="649956191" sldId="633"/>
            <ac:spMk id="175" creationId="{B9AD7C1B-16AD-434A-B9BB-F02459B73189}"/>
          </ac:spMkLst>
        </pc:spChg>
        <pc:spChg chg="add mod ord">
          <ac:chgData name="Nwokenna, Ola" userId="24fd04f5-1db1-4044-9d5a-a2564da48616" providerId="ADAL" clId="{069E6D5C-44E2-4543-A9E5-23AB25AAE2AA}" dt="2019-05-28T12:33:51.877" v="42748"/>
          <ac:spMkLst>
            <pc:docMk/>
            <pc:sldMk cId="649956191" sldId="633"/>
            <ac:spMk id="176" creationId="{05DCB3DE-9572-42CD-A172-4337D9A6CCA3}"/>
          </ac:spMkLst>
        </pc:spChg>
        <pc:spChg chg="add mod ord">
          <ac:chgData name="Nwokenna, Ola" userId="24fd04f5-1db1-4044-9d5a-a2564da48616" providerId="ADAL" clId="{069E6D5C-44E2-4543-A9E5-23AB25AAE2AA}" dt="2019-05-28T12:33:51.879" v="42750"/>
          <ac:spMkLst>
            <pc:docMk/>
            <pc:sldMk cId="649956191" sldId="633"/>
            <ac:spMk id="177" creationId="{2B444565-3171-436B-890D-1EDF735BC104}"/>
          </ac:spMkLst>
        </pc:spChg>
        <pc:spChg chg="add del mod ord">
          <ac:chgData name="Nwokenna, Ola" userId="24fd04f5-1db1-4044-9d5a-a2564da48616" providerId="ADAL" clId="{069E6D5C-44E2-4543-A9E5-23AB25AAE2AA}" dt="2019-05-28T12:33:51.615" v="42703"/>
          <ac:spMkLst>
            <pc:docMk/>
            <pc:sldMk cId="649956191" sldId="633"/>
            <ac:spMk id="178" creationId="{534B60E9-E5E1-4DD6-8EDC-9C22F8BF0DD3}"/>
          </ac:spMkLst>
        </pc:spChg>
        <pc:graphicFrameChg chg="add mod ord">
          <ac:chgData name="Nwokenna, Ola" userId="24fd04f5-1db1-4044-9d5a-a2564da48616" providerId="ADAL" clId="{069E6D5C-44E2-4543-A9E5-23AB25AAE2AA}" dt="2019-05-28T12:33:51.941" v="42792"/>
          <ac:graphicFrameMkLst>
            <pc:docMk/>
            <pc:sldMk cId="649956191" sldId="633"/>
            <ac:graphicFrameMk id="7" creationId="{1E8C6D2D-8DF7-4E6D-B0BA-17C77FEFA8B5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1:15:32.753" v="10391"/>
          <ac:graphicFrameMkLst>
            <pc:docMk/>
            <pc:sldMk cId="649956191" sldId="633"/>
            <ac:graphicFrameMk id="8" creationId="{3387E654-CD4B-491D-BFD1-E8BEDD2AF38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09.881" v="10560"/>
          <ac:graphicFrameMkLst>
            <pc:docMk/>
            <pc:sldMk cId="649956191" sldId="633"/>
            <ac:graphicFrameMk id="21" creationId="{7EC9AB87-1538-462D-836C-572392FE37B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13.701" v="10631"/>
          <ac:graphicFrameMkLst>
            <pc:docMk/>
            <pc:sldMk cId="649956191" sldId="633"/>
            <ac:graphicFrameMk id="22" creationId="{CA882338-1616-42EC-BF24-CADE8495BDA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31.344" v="11653"/>
          <ac:graphicFrameMkLst>
            <pc:docMk/>
            <pc:sldMk cId="649956191" sldId="633"/>
            <ac:graphicFrameMk id="23" creationId="{05DB441D-C9B5-421E-8BC6-664252AB965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17.610" v="11035"/>
          <ac:graphicFrameMkLst>
            <pc:docMk/>
            <pc:sldMk cId="649956191" sldId="633"/>
            <ac:graphicFrameMk id="24" creationId="{683261FA-AA89-4056-B981-CBAE2903E24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31.647" v="11712"/>
          <ac:graphicFrameMkLst>
            <pc:docMk/>
            <pc:sldMk cId="649956191" sldId="633"/>
            <ac:graphicFrameMk id="37" creationId="{B9B40229-18F5-4CA5-A100-318A1F353D9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22.900" v="11474"/>
          <ac:graphicFrameMkLst>
            <pc:docMk/>
            <pc:sldMk cId="649956191" sldId="633"/>
            <ac:graphicFrameMk id="38" creationId="{567F9918-9B8E-4F2E-A017-AAB00C00E5B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31.890" v="11764"/>
          <ac:graphicFrameMkLst>
            <pc:docMk/>
            <pc:sldMk cId="649956191" sldId="633"/>
            <ac:graphicFrameMk id="51" creationId="{0344960B-34FB-431C-9B42-66CC8A5D49B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30.129" v="11943"/>
          <ac:graphicFrameMkLst>
            <pc:docMk/>
            <pc:sldMk cId="649956191" sldId="633"/>
            <ac:graphicFrameMk id="52" creationId="{6DBE12A1-2891-4C8D-A4D7-B3F402DC00C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30.378" v="12002"/>
          <ac:graphicFrameMkLst>
            <pc:docMk/>
            <pc:sldMk cId="649956191" sldId="633"/>
            <ac:graphicFrameMk id="53" creationId="{9E2F2D48-EA37-49AE-87E8-3D29B0EBAA4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30.571" v="12054"/>
          <ac:graphicFrameMkLst>
            <pc:docMk/>
            <pc:sldMk cId="649956191" sldId="633"/>
            <ac:graphicFrameMk id="54" creationId="{ABD027F1-387A-43D2-892B-967E74D8B86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33.667" v="12220"/>
          <ac:graphicFrameMkLst>
            <pc:docMk/>
            <pc:sldMk cId="649956191" sldId="633"/>
            <ac:graphicFrameMk id="57" creationId="{685D2C1C-BF46-4B82-95F8-DD29017A620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33.796" v="12279"/>
          <ac:graphicFrameMkLst>
            <pc:docMk/>
            <pc:sldMk cId="649956191" sldId="633"/>
            <ac:graphicFrameMk id="58" creationId="{6532900C-4761-4DBC-8340-A32E4BC78E3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33.902" v="12331"/>
          <ac:graphicFrameMkLst>
            <pc:docMk/>
            <pc:sldMk cId="649956191" sldId="633"/>
            <ac:graphicFrameMk id="59" creationId="{C3ACAFA2-BB6F-480A-83F4-FDD31DF2149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52.317" v="12455" actId="478"/>
          <ac:graphicFrameMkLst>
            <pc:docMk/>
            <pc:sldMk cId="649956191" sldId="633"/>
            <ac:graphicFrameMk id="60" creationId="{C22F242F-42C8-4E5A-9996-8389B84DE4D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52.317" v="12455" actId="478"/>
          <ac:graphicFrameMkLst>
            <pc:docMk/>
            <pc:sldMk cId="649956191" sldId="633"/>
            <ac:graphicFrameMk id="61" creationId="{8FDDC168-77E3-44DE-8D36-10C7642FCB4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52.317" v="12455" actId="478"/>
          <ac:graphicFrameMkLst>
            <pc:docMk/>
            <pc:sldMk cId="649956191" sldId="633"/>
            <ac:graphicFrameMk id="62" creationId="{6D266EB3-4445-4A83-87CD-E560AAEBD14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15.156" v="14426"/>
          <ac:graphicFrameMkLst>
            <pc:docMk/>
            <pc:sldMk cId="649956191" sldId="633"/>
            <ac:graphicFrameMk id="74" creationId="{3B1DFDB5-67C0-4D78-9BFA-49795228FA2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15.913" v="14429"/>
          <ac:graphicFrameMkLst>
            <pc:docMk/>
            <pc:sldMk cId="649956191" sldId="633"/>
            <ac:graphicFrameMk id="85" creationId="{58D6DE75-28C6-4442-95C6-E96ED62492C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16.826" v="14432"/>
          <ac:graphicFrameMkLst>
            <pc:docMk/>
            <pc:sldMk cId="649956191" sldId="633"/>
            <ac:graphicFrameMk id="96" creationId="{741989D9-ACAB-4755-BD38-02398E2746A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20.912" v="14459"/>
          <ac:graphicFrameMkLst>
            <pc:docMk/>
            <pc:sldMk cId="649956191" sldId="633"/>
            <ac:graphicFrameMk id="100" creationId="{007459AA-3453-44BB-BE04-66BECC04248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25.046" v="14494"/>
          <ac:graphicFrameMkLst>
            <pc:docMk/>
            <pc:sldMk cId="649956191" sldId="633"/>
            <ac:graphicFrameMk id="101" creationId="{121EBE0D-F194-49C5-A0B0-4E0177D1D85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36.926" v="14635"/>
          <ac:graphicFrameMkLst>
            <pc:docMk/>
            <pc:sldMk cId="649956191" sldId="633"/>
            <ac:graphicFrameMk id="102" creationId="{2B20A13E-C15B-4645-B078-AE2D4B11098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44.942" v="14742"/>
          <ac:graphicFrameMkLst>
            <pc:docMk/>
            <pc:sldMk cId="649956191" sldId="633"/>
            <ac:graphicFrameMk id="105" creationId="{F6A7B577-74A5-465E-A898-AB7357C863E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55.442" v="14805"/>
          <ac:graphicFrameMkLst>
            <pc:docMk/>
            <pc:sldMk cId="649956191" sldId="633"/>
            <ac:graphicFrameMk id="108" creationId="{AE3349C5-2765-431E-AAF6-7D185DECC57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01.472" v="14862"/>
          <ac:graphicFrameMkLst>
            <pc:docMk/>
            <pc:sldMk cId="649956191" sldId="633"/>
            <ac:graphicFrameMk id="110" creationId="{2EFC316A-5E82-4B57-BA3B-7196BC93BCC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08.727" v="14893"/>
          <ac:graphicFrameMkLst>
            <pc:docMk/>
            <pc:sldMk cId="649956191" sldId="633"/>
            <ac:graphicFrameMk id="112" creationId="{ACA4FAB1-B70A-422B-804A-52BECDC330A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09.658" v="14924"/>
          <ac:graphicFrameMkLst>
            <pc:docMk/>
            <pc:sldMk cId="649956191" sldId="633"/>
            <ac:graphicFrameMk id="113" creationId="{4CF8F670-51EC-44EC-8037-23FF157B54A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10.421" v="14955"/>
          <ac:graphicFrameMkLst>
            <pc:docMk/>
            <pc:sldMk cId="649956191" sldId="633"/>
            <ac:graphicFrameMk id="114" creationId="{945C8D52-57C1-4C98-A670-238C1386A31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12.320" v="15010"/>
          <ac:graphicFrameMkLst>
            <pc:docMk/>
            <pc:sldMk cId="649956191" sldId="633"/>
            <ac:graphicFrameMk id="115" creationId="{E4C74D48-21C8-4151-BBB2-E7EC767EB0B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34.638" v="15831"/>
          <ac:graphicFrameMkLst>
            <pc:docMk/>
            <pc:sldMk cId="649956191" sldId="633"/>
            <ac:graphicFrameMk id="116" creationId="{6C5897B9-F4DB-48F0-8339-DDF06835048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35.455" v="16112"/>
          <ac:graphicFrameMkLst>
            <pc:docMk/>
            <pc:sldMk cId="649956191" sldId="633"/>
            <ac:graphicFrameMk id="130" creationId="{F31EEFCD-0D3E-4312-8B70-BC016C5F7BA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45.763" v="16205"/>
          <ac:graphicFrameMkLst>
            <pc:docMk/>
            <pc:sldMk cId="649956191" sldId="633"/>
            <ac:graphicFrameMk id="141" creationId="{047CCC58-98AA-4EB2-B38D-DD93057C88B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46.144" v="16360"/>
          <ac:graphicFrameMkLst>
            <pc:docMk/>
            <pc:sldMk cId="649956191" sldId="633"/>
            <ac:graphicFrameMk id="142" creationId="{6A8A0779-5FB2-4AF2-B1E3-5B5A61A172E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49.042" v="16635"/>
          <ac:graphicFrameMkLst>
            <pc:docMk/>
            <pc:sldMk cId="649956191" sldId="633"/>
            <ac:graphicFrameMk id="144" creationId="{67794F89-A4BF-433A-BAF1-49BB6D8277E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01.196" v="16742"/>
          <ac:graphicFrameMkLst>
            <pc:docMk/>
            <pc:sldMk cId="649956191" sldId="633"/>
            <ac:graphicFrameMk id="147" creationId="{66BCEEC0-A143-43F7-9E33-71979AFFCE2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02.390" v="16809"/>
          <ac:graphicFrameMkLst>
            <pc:docMk/>
            <pc:sldMk cId="649956191" sldId="633"/>
            <ac:graphicFrameMk id="148" creationId="{2649D018-2603-46E7-AD6A-8381F555DE9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03.227" v="16876"/>
          <ac:graphicFrameMkLst>
            <pc:docMk/>
            <pc:sldMk cId="649956191" sldId="633"/>
            <ac:graphicFrameMk id="149" creationId="{C74954EE-59CF-4F9C-BF7C-6C45814461F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04.977" v="16943"/>
          <ac:graphicFrameMkLst>
            <pc:docMk/>
            <pc:sldMk cId="649956191" sldId="633"/>
            <ac:graphicFrameMk id="150" creationId="{7380177E-7EC9-4483-A89B-FE96E504674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07.809" v="17010"/>
          <ac:graphicFrameMkLst>
            <pc:docMk/>
            <pc:sldMk cId="649956191" sldId="633"/>
            <ac:graphicFrameMk id="151" creationId="{9EBB2873-1B91-4952-A24F-3B8EAFAA5A0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25.437" v="17385"/>
          <ac:graphicFrameMkLst>
            <pc:docMk/>
            <pc:sldMk cId="649956191" sldId="633"/>
            <ac:graphicFrameMk id="152" creationId="{7FB6195E-297F-4CBF-8F9A-A1086C5C12C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32.928" v="17540"/>
          <ac:graphicFrameMkLst>
            <pc:docMk/>
            <pc:sldMk cId="649956191" sldId="633"/>
            <ac:graphicFrameMk id="153" creationId="{74D0DCCD-A6FC-42FA-820E-2B84FCFBD68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07.693" v="22825"/>
          <ac:graphicFrameMkLst>
            <pc:docMk/>
            <pc:sldMk cId="649956191" sldId="633"/>
            <ac:graphicFrameMk id="154" creationId="{A1615C8F-B30A-45CB-9DCE-4D63783474A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23.356" v="22904"/>
          <ac:graphicFrameMkLst>
            <pc:docMk/>
            <pc:sldMk cId="649956191" sldId="633"/>
            <ac:graphicFrameMk id="161" creationId="{72940378-3423-4D29-929F-77C9FDCBD7E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32.207" v="22983"/>
          <ac:graphicFrameMkLst>
            <pc:docMk/>
            <pc:sldMk cId="649956191" sldId="633"/>
            <ac:graphicFrameMk id="162" creationId="{A551A8CC-1CAC-4595-A092-B410916E647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48.887" v="23062"/>
          <ac:graphicFrameMkLst>
            <pc:docMk/>
            <pc:sldMk cId="649956191" sldId="633"/>
            <ac:graphicFrameMk id="163" creationId="{773A805B-968B-4F22-BFB8-F47AC2C157E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55.052" v="23141"/>
          <ac:graphicFrameMkLst>
            <pc:docMk/>
            <pc:sldMk cId="649956191" sldId="633"/>
            <ac:graphicFrameMk id="164" creationId="{E62D0670-902B-482B-95F0-37DC7AD2BE9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9:01.129" v="23220"/>
          <ac:graphicFrameMkLst>
            <pc:docMk/>
            <pc:sldMk cId="649956191" sldId="633"/>
            <ac:graphicFrameMk id="165" creationId="{0518AE95-5A53-4965-BC4D-AA4111A2639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9:19.048" v="23299"/>
          <ac:graphicFrameMkLst>
            <pc:docMk/>
            <pc:sldMk cId="649956191" sldId="633"/>
            <ac:graphicFrameMk id="166" creationId="{4FAB49F1-E12E-46D6-96E5-66A4D06DBD9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32.319" v="41825"/>
          <ac:graphicFrameMkLst>
            <pc:docMk/>
            <pc:sldMk cId="649956191" sldId="633"/>
            <ac:graphicFrameMk id="167" creationId="{9ABA710E-70E2-4EB8-A38E-0D2A39EE3BE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37.156" v="41907"/>
          <ac:graphicFrameMkLst>
            <pc:docMk/>
            <pc:sldMk cId="649956191" sldId="633"/>
            <ac:graphicFrameMk id="168" creationId="{AA10064F-1236-4CA9-BC78-2CA22A38BE8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38.179" v="41986"/>
          <ac:graphicFrameMkLst>
            <pc:docMk/>
            <pc:sldMk cId="649956191" sldId="633"/>
            <ac:graphicFrameMk id="169" creationId="{2CF34747-DC55-4499-9F48-5AE3AE7F4E1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40.130" v="42064"/>
          <ac:graphicFrameMkLst>
            <pc:docMk/>
            <pc:sldMk cId="649956191" sldId="633"/>
            <ac:graphicFrameMk id="170" creationId="{0FB60093-AAC7-49B9-ABD2-032EC361AD3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48.148" v="42632"/>
          <ac:graphicFrameMkLst>
            <pc:docMk/>
            <pc:sldMk cId="649956191" sldId="633"/>
            <ac:graphicFrameMk id="171" creationId="{DFCB6FF2-8231-4729-BF1F-035EB4BCD11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51.794" v="42726"/>
          <ac:graphicFrameMkLst>
            <pc:docMk/>
            <pc:sldMk cId="649956191" sldId="633"/>
            <ac:graphicFrameMk id="179" creationId="{C8048D2E-ED76-42A3-B583-7E95CA15BDD1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33:51.865" v="42738"/>
          <ac:graphicFrameMkLst>
            <pc:docMk/>
            <pc:sldMk cId="649956191" sldId="633"/>
            <ac:graphicFrameMk id="180" creationId="{1F3F8FE2-A70F-4B5E-B345-673834B71A71}"/>
          </ac:graphicFrameMkLst>
        </pc:graphicFrameChg>
        <pc:cxnChg chg="add del mod ord">
          <ac:chgData name="Nwokenna, Ola" userId="24fd04f5-1db1-4044-9d5a-a2564da48616" providerId="ADAL" clId="{069E6D5C-44E2-4543-A9E5-23AB25AAE2AA}" dt="2019-05-28T11:17:52.317" v="12455" actId="478"/>
          <ac:cxnSpMkLst>
            <pc:docMk/>
            <pc:sldMk cId="649956191" sldId="633"/>
            <ac:cxnSpMk id="9" creationId="{E3392DF4-1407-4F22-B188-5E9EA450670F}"/>
          </ac:cxnSpMkLst>
        </pc:cxnChg>
        <pc:cxnChg chg="add del mod ord">
          <ac:chgData name="Nwokenna, Ola" userId="24fd04f5-1db1-4044-9d5a-a2564da48616" providerId="ADAL" clId="{069E6D5C-44E2-4543-A9E5-23AB25AAE2AA}" dt="2019-05-28T11:17:52.317" v="12455" actId="478"/>
          <ac:cxnSpMkLst>
            <pc:docMk/>
            <pc:sldMk cId="649956191" sldId="633"/>
            <ac:cxnSpMk id="25" creationId="{1534E68C-B668-4CFA-BCE8-5AFED75D0112}"/>
          </ac:cxnSpMkLst>
        </pc:cxnChg>
        <pc:cxnChg chg="add del mod ord">
          <ac:chgData name="Nwokenna, Ola" userId="24fd04f5-1db1-4044-9d5a-a2564da48616" providerId="ADAL" clId="{069E6D5C-44E2-4543-A9E5-23AB25AAE2AA}" dt="2019-05-28T11:17:52.317" v="12455" actId="478"/>
          <ac:cxnSpMkLst>
            <pc:docMk/>
            <pc:sldMk cId="649956191" sldId="633"/>
            <ac:cxnSpMk id="39" creationId="{EFD1006D-601C-4F2C-B2A1-4931E40767E4}"/>
          </ac:cxnSpMkLst>
        </pc:cxnChg>
      </pc:sldChg>
      <pc:sldChg chg="addSp delSp modSp add">
        <pc:chgData name="Nwokenna, Ola" userId="24fd04f5-1db1-4044-9d5a-a2564da48616" providerId="ADAL" clId="{069E6D5C-44E2-4543-A9E5-23AB25AAE2AA}" dt="2019-05-28T12:33:28.540" v="41805"/>
        <pc:sldMkLst>
          <pc:docMk/>
          <pc:sldMk cId="739696860" sldId="634"/>
        </pc:sldMkLst>
        <pc:spChg chg="mod ord">
          <ac:chgData name="Nwokenna, Ola" userId="24fd04f5-1db1-4044-9d5a-a2564da48616" providerId="ADAL" clId="{069E6D5C-44E2-4543-A9E5-23AB25AAE2AA}" dt="2019-05-28T12:33:28.469" v="41746"/>
          <ac:spMkLst>
            <pc:docMk/>
            <pc:sldMk cId="739696860" sldId="634"/>
            <ac:spMk id="2" creationId="{A06263D5-7442-4CE4-9E5E-394B91A8AF1B}"/>
          </ac:spMkLst>
        </pc:spChg>
        <pc:spChg chg="add del mod ord">
          <ac:chgData name="Nwokenna, Ola" userId="24fd04f5-1db1-4044-9d5a-a2564da48616" providerId="ADAL" clId="{069E6D5C-44E2-4543-A9E5-23AB25AAE2AA}" dt="2019-05-28T11:30:13.508" v="24598"/>
          <ac:spMkLst>
            <pc:docMk/>
            <pc:sldMk cId="739696860" sldId="634"/>
            <ac:spMk id="3" creationId="{B5A9958F-4C84-4CF8-BE38-9A9446F965C2}"/>
          </ac:spMkLst>
        </pc:spChg>
        <pc:spChg chg="add del mod ord">
          <ac:chgData name="Nwokenna, Ola" userId="24fd04f5-1db1-4044-9d5a-a2564da48616" providerId="ADAL" clId="{069E6D5C-44E2-4543-A9E5-23AB25AAE2AA}" dt="2019-05-28T11:30:13.504" v="24594"/>
          <ac:spMkLst>
            <pc:docMk/>
            <pc:sldMk cId="739696860" sldId="634"/>
            <ac:spMk id="4" creationId="{CC7CFD9B-816B-4F8F-A052-AE5D395B88F9}"/>
          </ac:spMkLst>
        </pc:spChg>
        <pc:spChg chg="mod ord">
          <ac:chgData name="Nwokenna, Ola" userId="24fd04f5-1db1-4044-9d5a-a2564da48616" providerId="ADAL" clId="{069E6D5C-44E2-4543-A9E5-23AB25AAE2AA}" dt="2019-05-28T12:33:28.471" v="41748"/>
          <ac:spMkLst>
            <pc:docMk/>
            <pc:sldMk cId="739696860" sldId="634"/>
            <ac:spMk id="5" creationId="{E74BB043-350E-46D5-B02F-F48CB9C58A0E}"/>
          </ac:spMkLst>
        </pc:spChg>
        <pc:spChg chg="mod ord">
          <ac:chgData name="Nwokenna, Ola" userId="24fd04f5-1db1-4044-9d5a-a2564da48616" providerId="ADAL" clId="{069E6D5C-44E2-4543-A9E5-23AB25AAE2AA}" dt="2019-05-28T12:33:28.466" v="41744"/>
          <ac:spMkLst>
            <pc:docMk/>
            <pc:sldMk cId="739696860" sldId="634"/>
            <ac:spMk id="6" creationId="{6BF73A03-4A3C-4C2D-8FB2-7E112C8DD630}"/>
          </ac:spMkLst>
        </pc:spChg>
        <pc:spChg chg="add del mod ord">
          <ac:chgData name="Nwokenna, Ola" userId="24fd04f5-1db1-4044-9d5a-a2564da48616" providerId="ADAL" clId="{069E6D5C-44E2-4543-A9E5-23AB25AAE2AA}" dt="2019-05-28T11:30:13.501" v="24590"/>
          <ac:spMkLst>
            <pc:docMk/>
            <pc:sldMk cId="739696860" sldId="634"/>
            <ac:spMk id="8" creationId="{87592F83-C3C6-4D5B-BC9A-AC199959210A}"/>
          </ac:spMkLst>
        </pc:spChg>
        <pc:spChg chg="add del mod ord">
          <ac:chgData name="Nwokenna, Ola" userId="24fd04f5-1db1-4044-9d5a-a2564da48616" providerId="ADAL" clId="{069E6D5C-44E2-4543-A9E5-23AB25AAE2AA}" dt="2019-05-28T11:30:13.498" v="24586"/>
          <ac:spMkLst>
            <pc:docMk/>
            <pc:sldMk cId="739696860" sldId="634"/>
            <ac:spMk id="9" creationId="{B87E77B7-4EAE-4099-829B-E05095CB2D37}"/>
          </ac:spMkLst>
        </pc:spChg>
        <pc:spChg chg="add del mod ord">
          <ac:chgData name="Nwokenna, Ola" userId="24fd04f5-1db1-4044-9d5a-a2564da48616" providerId="ADAL" clId="{069E6D5C-44E2-4543-A9E5-23AB25AAE2AA}" dt="2019-05-28T11:30:13.495" v="24582"/>
          <ac:spMkLst>
            <pc:docMk/>
            <pc:sldMk cId="739696860" sldId="634"/>
            <ac:spMk id="10" creationId="{DDB2F1AA-039F-4D02-A838-5575A7566F41}"/>
          </ac:spMkLst>
        </pc:spChg>
        <pc:spChg chg="add del mod ord">
          <ac:chgData name="Nwokenna, Ola" userId="24fd04f5-1db1-4044-9d5a-a2564da48616" providerId="ADAL" clId="{069E6D5C-44E2-4543-A9E5-23AB25AAE2AA}" dt="2019-05-28T11:26:57.787" v="21636"/>
          <ac:spMkLst>
            <pc:docMk/>
            <pc:sldMk cId="739696860" sldId="634"/>
            <ac:spMk id="11" creationId="{DCB0E9E5-FDFA-476B-AE8A-4A59972D94B2}"/>
          </ac:spMkLst>
        </pc:spChg>
        <pc:spChg chg="add del mod ord">
          <ac:chgData name="Nwokenna, Ola" userId="24fd04f5-1db1-4044-9d5a-a2564da48616" providerId="ADAL" clId="{069E6D5C-44E2-4543-A9E5-23AB25AAE2AA}" dt="2019-05-28T11:26:57.791" v="21640"/>
          <ac:spMkLst>
            <pc:docMk/>
            <pc:sldMk cId="739696860" sldId="634"/>
            <ac:spMk id="12" creationId="{A6006375-9506-4CB3-BBA3-39E5CE118C2C}"/>
          </ac:spMkLst>
        </pc:spChg>
        <pc:spChg chg="add del mod ord">
          <ac:chgData name="Nwokenna, Ola" userId="24fd04f5-1db1-4044-9d5a-a2564da48616" providerId="ADAL" clId="{069E6D5C-44E2-4543-A9E5-23AB25AAE2AA}" dt="2019-05-28T11:26:57.794" v="21644"/>
          <ac:spMkLst>
            <pc:docMk/>
            <pc:sldMk cId="739696860" sldId="634"/>
            <ac:spMk id="13" creationId="{B81CE37D-C43A-4839-BFE4-9D2B35FD8493}"/>
          </ac:spMkLst>
        </pc:spChg>
        <pc:spChg chg="add del mod ord">
          <ac:chgData name="Nwokenna, Ola" userId="24fd04f5-1db1-4044-9d5a-a2564da48616" providerId="ADAL" clId="{069E6D5C-44E2-4543-A9E5-23AB25AAE2AA}" dt="2019-05-28T11:26:57.800" v="21648"/>
          <ac:spMkLst>
            <pc:docMk/>
            <pc:sldMk cId="739696860" sldId="634"/>
            <ac:spMk id="14" creationId="{7959120E-24AC-46A7-B0F2-8E6135F05AA4}"/>
          </ac:spMkLst>
        </pc:spChg>
        <pc:spChg chg="add del mod ord">
          <ac:chgData name="Nwokenna, Ola" userId="24fd04f5-1db1-4044-9d5a-a2564da48616" providerId="ADAL" clId="{069E6D5C-44E2-4543-A9E5-23AB25AAE2AA}" dt="2019-05-28T11:26:57.803" v="21652"/>
          <ac:spMkLst>
            <pc:docMk/>
            <pc:sldMk cId="739696860" sldId="634"/>
            <ac:spMk id="15" creationId="{853C699B-FFE0-46B1-BE6A-83ABA6104EA9}"/>
          </ac:spMkLst>
        </pc:spChg>
        <pc:spChg chg="add del mod ord">
          <ac:chgData name="Nwokenna, Ola" userId="24fd04f5-1db1-4044-9d5a-a2564da48616" providerId="ADAL" clId="{069E6D5C-44E2-4543-A9E5-23AB25AAE2AA}" dt="2019-05-28T11:30:13.511" v="24602"/>
          <ac:spMkLst>
            <pc:docMk/>
            <pc:sldMk cId="739696860" sldId="634"/>
            <ac:spMk id="32" creationId="{8EAB2DA6-78DB-468F-AD22-57D6FEB4FB9C}"/>
          </ac:spMkLst>
        </pc:spChg>
        <pc:spChg chg="add del mod ord">
          <ac:chgData name="Nwokenna, Ola" userId="24fd04f5-1db1-4044-9d5a-a2564da48616" providerId="ADAL" clId="{069E6D5C-44E2-4543-A9E5-23AB25AAE2AA}" dt="2019-05-28T11:30:13.509" v="24600"/>
          <ac:spMkLst>
            <pc:docMk/>
            <pc:sldMk cId="739696860" sldId="634"/>
            <ac:spMk id="37" creationId="{C58799F8-8F52-40B4-AD2A-7A1AA3A12999}"/>
          </ac:spMkLst>
        </pc:spChg>
        <pc:spChg chg="add del mod ord">
          <ac:chgData name="Nwokenna, Ola" userId="24fd04f5-1db1-4044-9d5a-a2564da48616" providerId="ADAL" clId="{069E6D5C-44E2-4543-A9E5-23AB25AAE2AA}" dt="2019-05-28T11:30:13.506" v="24596"/>
          <ac:spMkLst>
            <pc:docMk/>
            <pc:sldMk cId="739696860" sldId="634"/>
            <ac:spMk id="38" creationId="{1521BE3E-175D-47BD-823B-E633FB00CF8E}"/>
          </ac:spMkLst>
        </pc:spChg>
        <pc:spChg chg="add del mod ord">
          <ac:chgData name="Nwokenna, Ola" userId="24fd04f5-1db1-4044-9d5a-a2564da48616" providerId="ADAL" clId="{069E6D5C-44E2-4543-A9E5-23AB25AAE2AA}" dt="2019-05-28T11:30:13.502" v="24592"/>
          <ac:spMkLst>
            <pc:docMk/>
            <pc:sldMk cId="739696860" sldId="634"/>
            <ac:spMk id="39" creationId="{2A524538-0545-4AED-AEFB-410F32F30FE3}"/>
          </ac:spMkLst>
        </pc:spChg>
        <pc:spChg chg="add del mod ord">
          <ac:chgData name="Nwokenna, Ola" userId="24fd04f5-1db1-4044-9d5a-a2564da48616" providerId="ADAL" clId="{069E6D5C-44E2-4543-A9E5-23AB25AAE2AA}" dt="2019-05-28T11:30:13.499" v="24588"/>
          <ac:spMkLst>
            <pc:docMk/>
            <pc:sldMk cId="739696860" sldId="634"/>
            <ac:spMk id="40" creationId="{9F07A61A-1202-4191-BC72-649EBEA8919E}"/>
          </ac:spMkLst>
        </pc:spChg>
        <pc:spChg chg="add del mod ord">
          <ac:chgData name="Nwokenna, Ola" userId="24fd04f5-1db1-4044-9d5a-a2564da48616" providerId="ADAL" clId="{069E6D5C-44E2-4543-A9E5-23AB25AAE2AA}" dt="2019-05-28T11:30:13.496" v="24584"/>
          <ac:spMkLst>
            <pc:docMk/>
            <pc:sldMk cId="739696860" sldId="634"/>
            <ac:spMk id="41" creationId="{CBD016BC-A574-4C7E-8316-BBB975808F32}"/>
          </ac:spMkLst>
        </pc:spChg>
        <pc:spChg chg="add del mod ord">
          <ac:chgData name="Nwokenna, Ola" userId="24fd04f5-1db1-4044-9d5a-a2564da48616" providerId="ADAL" clId="{069E6D5C-44E2-4543-A9E5-23AB25AAE2AA}" dt="2019-05-28T11:26:57.789" v="21638"/>
          <ac:spMkLst>
            <pc:docMk/>
            <pc:sldMk cId="739696860" sldId="634"/>
            <ac:spMk id="42" creationId="{C5AEE767-028A-44E8-B4CD-EB9DD9C01631}"/>
          </ac:spMkLst>
        </pc:spChg>
        <pc:spChg chg="add del mod ord">
          <ac:chgData name="Nwokenna, Ola" userId="24fd04f5-1db1-4044-9d5a-a2564da48616" providerId="ADAL" clId="{069E6D5C-44E2-4543-A9E5-23AB25AAE2AA}" dt="2019-05-28T11:26:57.792" v="21642"/>
          <ac:spMkLst>
            <pc:docMk/>
            <pc:sldMk cId="739696860" sldId="634"/>
            <ac:spMk id="43" creationId="{F38DE44F-C041-416C-9E6B-F83E2BE4F70B}"/>
          </ac:spMkLst>
        </pc:spChg>
        <pc:spChg chg="add del mod ord">
          <ac:chgData name="Nwokenna, Ola" userId="24fd04f5-1db1-4044-9d5a-a2564da48616" providerId="ADAL" clId="{069E6D5C-44E2-4543-A9E5-23AB25AAE2AA}" dt="2019-05-28T11:26:57.797" v="21646"/>
          <ac:spMkLst>
            <pc:docMk/>
            <pc:sldMk cId="739696860" sldId="634"/>
            <ac:spMk id="44" creationId="{10D14B92-E68B-487B-89E0-8C92BB5EEAB5}"/>
          </ac:spMkLst>
        </pc:spChg>
        <pc:spChg chg="add del mod ord">
          <ac:chgData name="Nwokenna, Ola" userId="24fd04f5-1db1-4044-9d5a-a2564da48616" providerId="ADAL" clId="{069E6D5C-44E2-4543-A9E5-23AB25AAE2AA}" dt="2019-05-28T11:26:57.802" v="21650"/>
          <ac:spMkLst>
            <pc:docMk/>
            <pc:sldMk cId="739696860" sldId="634"/>
            <ac:spMk id="45" creationId="{BE82322C-32CA-4879-95C7-2D2033723843}"/>
          </ac:spMkLst>
        </pc:spChg>
        <pc:spChg chg="add del mod ord">
          <ac:chgData name="Nwokenna, Ola" userId="24fd04f5-1db1-4044-9d5a-a2564da48616" providerId="ADAL" clId="{069E6D5C-44E2-4543-A9E5-23AB25AAE2AA}" dt="2019-05-28T11:26:57.804" v="21654"/>
          <ac:spMkLst>
            <pc:docMk/>
            <pc:sldMk cId="739696860" sldId="634"/>
            <ac:spMk id="46" creationId="{E5B2A51A-E165-48EB-A1B6-852A87F857A7}"/>
          </ac:spMkLst>
        </pc:spChg>
        <pc:spChg chg="add del mod ord">
          <ac:chgData name="Nwokenna, Ola" userId="24fd04f5-1db1-4044-9d5a-a2564da48616" providerId="ADAL" clId="{069E6D5C-44E2-4543-A9E5-23AB25AAE2AA}" dt="2019-05-28T11:26:57.808" v="21658"/>
          <ac:spMkLst>
            <pc:docMk/>
            <pc:sldMk cId="739696860" sldId="634"/>
            <ac:spMk id="47" creationId="{3E64796C-9066-4DCD-9075-C6F3BAA46FC6}"/>
          </ac:spMkLst>
        </pc:spChg>
        <pc:spChg chg="add del mod ord">
          <ac:chgData name="Nwokenna, Ola" userId="24fd04f5-1db1-4044-9d5a-a2564da48616" providerId="ADAL" clId="{069E6D5C-44E2-4543-A9E5-23AB25AAE2AA}" dt="2019-05-28T11:26:57.806" v="21656"/>
          <ac:spMkLst>
            <pc:docMk/>
            <pc:sldMk cId="739696860" sldId="634"/>
            <ac:spMk id="48" creationId="{7A5339D6-6B44-4727-8447-291C4726D9ED}"/>
          </ac:spMkLst>
        </pc:spChg>
        <pc:spChg chg="add del mod ord">
          <ac:chgData name="Nwokenna, Ola" userId="24fd04f5-1db1-4044-9d5a-a2564da48616" providerId="ADAL" clId="{069E6D5C-44E2-4543-A9E5-23AB25AAE2AA}" dt="2019-05-28T11:26:57.811" v="21662"/>
          <ac:spMkLst>
            <pc:docMk/>
            <pc:sldMk cId="739696860" sldId="634"/>
            <ac:spMk id="49" creationId="{AC6FFC21-4DEB-4129-8758-DFCAE9401D32}"/>
          </ac:spMkLst>
        </pc:spChg>
        <pc:spChg chg="add del mod ord">
          <ac:chgData name="Nwokenna, Ola" userId="24fd04f5-1db1-4044-9d5a-a2564da48616" providerId="ADAL" clId="{069E6D5C-44E2-4543-A9E5-23AB25AAE2AA}" dt="2019-05-28T11:26:57.809" v="21660"/>
          <ac:spMkLst>
            <pc:docMk/>
            <pc:sldMk cId="739696860" sldId="634"/>
            <ac:spMk id="50" creationId="{04DE059F-7619-4566-93CB-B80BF751284B}"/>
          </ac:spMkLst>
        </pc:spChg>
        <pc:spChg chg="add del mod ord">
          <ac:chgData name="Nwokenna, Ola" userId="24fd04f5-1db1-4044-9d5a-a2564da48616" providerId="ADAL" clId="{069E6D5C-44E2-4543-A9E5-23AB25AAE2AA}" dt="2019-05-28T11:26:57.813" v="21664"/>
          <ac:spMkLst>
            <pc:docMk/>
            <pc:sldMk cId="739696860" sldId="634"/>
            <ac:spMk id="51" creationId="{4334E5A7-B6DC-4E6D-9587-0216F3AC57EA}"/>
          </ac:spMkLst>
        </pc:spChg>
        <pc:spChg chg="add del mod ord">
          <ac:chgData name="Nwokenna, Ola" userId="24fd04f5-1db1-4044-9d5a-a2564da48616" providerId="ADAL" clId="{069E6D5C-44E2-4543-A9E5-23AB25AAE2AA}" dt="2019-05-28T11:27:54.128" v="22262"/>
          <ac:spMkLst>
            <pc:docMk/>
            <pc:sldMk cId="739696860" sldId="634"/>
            <ac:spMk id="64" creationId="{FAE62E00-CE3F-4AB9-929D-4B85DFF620F7}"/>
          </ac:spMkLst>
        </pc:spChg>
        <pc:spChg chg="add del mod ord">
          <ac:chgData name="Nwokenna, Ola" userId="24fd04f5-1db1-4044-9d5a-a2564da48616" providerId="ADAL" clId="{069E6D5C-44E2-4543-A9E5-23AB25AAE2AA}" dt="2019-05-28T11:27:54.138" v="22264"/>
          <ac:spMkLst>
            <pc:docMk/>
            <pc:sldMk cId="739696860" sldId="634"/>
            <ac:spMk id="65" creationId="{060E21A3-71C6-465C-A305-8ED4C206CAC5}"/>
          </ac:spMkLst>
        </pc:spChg>
        <pc:spChg chg="add del mod ord">
          <ac:chgData name="Nwokenna, Ola" userId="24fd04f5-1db1-4044-9d5a-a2564da48616" providerId="ADAL" clId="{069E6D5C-44E2-4543-A9E5-23AB25AAE2AA}" dt="2019-05-28T11:27:54.647" v="22349"/>
          <ac:spMkLst>
            <pc:docMk/>
            <pc:sldMk cId="739696860" sldId="634"/>
            <ac:spMk id="66" creationId="{7B12B8C3-2B69-4693-8F12-B004A592DA5C}"/>
          </ac:spMkLst>
        </pc:spChg>
        <pc:spChg chg="add del mod ord">
          <ac:chgData name="Nwokenna, Ola" userId="24fd04f5-1db1-4044-9d5a-a2564da48616" providerId="ADAL" clId="{069E6D5C-44E2-4543-A9E5-23AB25AAE2AA}" dt="2019-05-28T11:27:57.885" v="22510"/>
          <ac:spMkLst>
            <pc:docMk/>
            <pc:sldMk cId="739696860" sldId="634"/>
            <ac:spMk id="67" creationId="{742EFD5C-303E-4171-A4EF-8B96A83FE26B}"/>
          </ac:spMkLst>
        </pc:spChg>
        <pc:spChg chg="add del mod ord">
          <ac:chgData name="Nwokenna, Ola" userId="24fd04f5-1db1-4044-9d5a-a2564da48616" providerId="ADAL" clId="{069E6D5C-44E2-4543-A9E5-23AB25AAE2AA}" dt="2019-05-28T11:28:01.225" v="22742"/>
          <ac:spMkLst>
            <pc:docMk/>
            <pc:sldMk cId="739696860" sldId="634"/>
            <ac:spMk id="68" creationId="{2BF52840-72CB-499E-A073-AA71A24F75C6}"/>
          </ac:spMkLst>
        </pc:spChg>
        <pc:spChg chg="add mod ord">
          <ac:chgData name="Nwokenna, Ola" userId="24fd04f5-1db1-4044-9d5a-a2564da48616" providerId="ADAL" clId="{069E6D5C-44E2-4543-A9E5-23AB25AAE2AA}" dt="2019-05-28T12:33:28.485" v="41762"/>
          <ac:spMkLst>
            <pc:docMk/>
            <pc:sldMk cId="739696860" sldId="634"/>
            <ac:spMk id="70" creationId="{DC90394F-5146-4C50-88D8-B6922323239C}"/>
          </ac:spMkLst>
        </pc:spChg>
        <pc:spChg chg="add mod ord">
          <ac:chgData name="Nwokenna, Ola" userId="24fd04f5-1db1-4044-9d5a-a2564da48616" providerId="ADAL" clId="{069E6D5C-44E2-4543-A9E5-23AB25AAE2AA}" dt="2019-05-28T12:33:28.496" v="41779"/>
          <ac:spMkLst>
            <pc:docMk/>
            <pc:sldMk cId="739696860" sldId="634"/>
            <ac:spMk id="79" creationId="{C97F439B-47D5-4A14-AD39-0BEFC206DB1F}"/>
          </ac:spMkLst>
        </pc:spChg>
        <pc:spChg chg="add mod ord">
          <ac:chgData name="Nwokenna, Ola" userId="24fd04f5-1db1-4044-9d5a-a2564da48616" providerId="ADAL" clId="{069E6D5C-44E2-4543-A9E5-23AB25AAE2AA}" dt="2019-05-28T12:33:28.495" v="41777"/>
          <ac:spMkLst>
            <pc:docMk/>
            <pc:sldMk cId="739696860" sldId="634"/>
            <ac:spMk id="80" creationId="{B468BE7B-F50C-48B4-9811-D0A3997D3F21}"/>
          </ac:spMkLst>
        </pc:spChg>
        <pc:spChg chg="add mod ord">
          <ac:chgData name="Nwokenna, Ola" userId="24fd04f5-1db1-4044-9d5a-a2564da48616" providerId="ADAL" clId="{069E6D5C-44E2-4543-A9E5-23AB25AAE2AA}" dt="2019-05-28T12:33:28.499" v="41783"/>
          <ac:spMkLst>
            <pc:docMk/>
            <pc:sldMk cId="739696860" sldId="634"/>
            <ac:spMk id="81" creationId="{19AA0381-D837-418F-A790-87B50DF9858A}"/>
          </ac:spMkLst>
        </pc:spChg>
        <pc:spChg chg="add del mod ord">
          <ac:chgData name="Nwokenna, Ola" userId="24fd04f5-1db1-4044-9d5a-a2564da48616" providerId="ADAL" clId="{069E6D5C-44E2-4543-A9E5-23AB25AAE2AA}" dt="2019-05-28T11:30:41.351" v="25326"/>
          <ac:spMkLst>
            <pc:docMk/>
            <pc:sldMk cId="739696860" sldId="634"/>
            <ac:spMk id="82" creationId="{36B658D7-21DF-4DFA-9CC8-30A3D31CB6CA}"/>
          </ac:spMkLst>
        </pc:spChg>
        <pc:spChg chg="add del mod ord">
          <ac:chgData name="Nwokenna, Ola" userId="24fd04f5-1db1-4044-9d5a-a2564da48616" providerId="ADAL" clId="{069E6D5C-44E2-4543-A9E5-23AB25AAE2AA}" dt="2019-05-28T11:30:42.190" v="25409"/>
          <ac:spMkLst>
            <pc:docMk/>
            <pc:sldMk cId="739696860" sldId="634"/>
            <ac:spMk id="83" creationId="{B380059B-0BCD-43C5-9475-8521F3D65C10}"/>
          </ac:spMkLst>
        </pc:spChg>
        <pc:spChg chg="add del mod ord">
          <ac:chgData name="Nwokenna, Ola" userId="24fd04f5-1db1-4044-9d5a-a2564da48616" providerId="ADAL" clId="{069E6D5C-44E2-4543-A9E5-23AB25AAE2AA}" dt="2019-05-28T11:30:37.484" v="25152"/>
          <ac:spMkLst>
            <pc:docMk/>
            <pc:sldMk cId="739696860" sldId="634"/>
            <ac:spMk id="84" creationId="{1F04F10D-3657-477C-A2D7-18BC5ACCB951}"/>
          </ac:spMkLst>
        </pc:spChg>
        <pc:spChg chg="add mod ord">
          <ac:chgData name="Nwokenna, Ola" userId="24fd04f5-1db1-4044-9d5a-a2564da48616" providerId="ADAL" clId="{069E6D5C-44E2-4543-A9E5-23AB25AAE2AA}" dt="2019-05-28T12:33:28.504" v="41787"/>
          <ac:spMkLst>
            <pc:docMk/>
            <pc:sldMk cId="739696860" sldId="634"/>
            <ac:spMk id="85" creationId="{14C7CD22-BD3B-4782-8AD3-0FEFFC828907}"/>
          </ac:spMkLst>
        </pc:spChg>
        <pc:spChg chg="add mod ord">
          <ac:chgData name="Nwokenna, Ola" userId="24fd04f5-1db1-4044-9d5a-a2564da48616" providerId="ADAL" clId="{069E6D5C-44E2-4543-A9E5-23AB25AAE2AA}" dt="2019-05-28T12:33:28.502" v="41785"/>
          <ac:spMkLst>
            <pc:docMk/>
            <pc:sldMk cId="739696860" sldId="634"/>
            <ac:spMk id="86" creationId="{35F298E6-B185-4F1A-AF36-10CD182BD468}"/>
          </ac:spMkLst>
        </pc:spChg>
        <pc:spChg chg="add mod ord">
          <ac:chgData name="Nwokenna, Ola" userId="24fd04f5-1db1-4044-9d5a-a2564da48616" providerId="ADAL" clId="{069E6D5C-44E2-4543-A9E5-23AB25AAE2AA}" dt="2019-05-28T12:33:28.505" v="41789"/>
          <ac:spMkLst>
            <pc:docMk/>
            <pc:sldMk cId="739696860" sldId="634"/>
            <ac:spMk id="87" creationId="{A26E6A65-242B-4021-89EB-38C30AEEB9F2}"/>
          </ac:spMkLst>
        </pc:spChg>
        <pc:spChg chg="add mod ord">
          <ac:chgData name="Nwokenna, Ola" userId="24fd04f5-1db1-4044-9d5a-a2564da48616" providerId="ADAL" clId="{069E6D5C-44E2-4543-A9E5-23AB25AAE2AA}" dt="2019-05-28T12:33:28.506" v="41791"/>
          <ac:spMkLst>
            <pc:docMk/>
            <pc:sldMk cId="739696860" sldId="634"/>
            <ac:spMk id="88" creationId="{C410896F-E3DB-4046-B251-98E1F058E85D}"/>
          </ac:spMkLst>
        </pc:spChg>
        <pc:spChg chg="add mod ord">
          <ac:chgData name="Nwokenna, Ola" userId="24fd04f5-1db1-4044-9d5a-a2564da48616" providerId="ADAL" clId="{069E6D5C-44E2-4543-A9E5-23AB25AAE2AA}" dt="2019-05-28T12:33:28.508" v="41793"/>
          <ac:spMkLst>
            <pc:docMk/>
            <pc:sldMk cId="739696860" sldId="634"/>
            <ac:spMk id="89" creationId="{B37DA2D6-F489-4270-9BC5-1E3ADD236670}"/>
          </ac:spMkLst>
        </pc:spChg>
        <pc:spChg chg="add mod ord">
          <ac:chgData name="Nwokenna, Ola" userId="24fd04f5-1db1-4044-9d5a-a2564da48616" providerId="ADAL" clId="{069E6D5C-44E2-4543-A9E5-23AB25AAE2AA}" dt="2019-05-28T12:33:28.515" v="41801"/>
          <ac:spMkLst>
            <pc:docMk/>
            <pc:sldMk cId="739696860" sldId="634"/>
            <ac:spMk id="90" creationId="{102DF40D-58DB-4491-90C7-47AB131D31A9}"/>
          </ac:spMkLst>
        </pc:spChg>
        <pc:spChg chg="add mod ord">
          <ac:chgData name="Nwokenna, Ola" userId="24fd04f5-1db1-4044-9d5a-a2564da48616" providerId="ADAL" clId="{069E6D5C-44E2-4543-A9E5-23AB25AAE2AA}" dt="2019-05-28T12:33:28.511" v="41797"/>
          <ac:spMkLst>
            <pc:docMk/>
            <pc:sldMk cId="739696860" sldId="634"/>
            <ac:spMk id="91" creationId="{8A79DF22-E6E4-425E-8124-81D033D83B6F}"/>
          </ac:spMkLst>
        </pc:spChg>
        <pc:spChg chg="add mod ord">
          <ac:chgData name="Nwokenna, Ola" userId="24fd04f5-1db1-4044-9d5a-a2564da48616" providerId="ADAL" clId="{069E6D5C-44E2-4543-A9E5-23AB25AAE2AA}" dt="2019-05-28T12:33:28.513" v="41799"/>
          <ac:spMkLst>
            <pc:docMk/>
            <pc:sldMk cId="739696860" sldId="634"/>
            <ac:spMk id="92" creationId="{E82F1CAF-F273-4027-955A-18519BFDF470}"/>
          </ac:spMkLst>
        </pc:spChg>
        <pc:spChg chg="add mod ord">
          <ac:chgData name="Nwokenna, Ola" userId="24fd04f5-1db1-4044-9d5a-a2564da48616" providerId="ADAL" clId="{069E6D5C-44E2-4543-A9E5-23AB25AAE2AA}" dt="2019-05-28T12:33:28.519" v="41803"/>
          <ac:spMkLst>
            <pc:docMk/>
            <pc:sldMk cId="739696860" sldId="634"/>
            <ac:spMk id="93" creationId="{D837C0A0-3122-45DE-BA32-DCF57968D373}"/>
          </ac:spMkLst>
        </pc:spChg>
        <pc:spChg chg="add mod ord">
          <ac:chgData name="Nwokenna, Ola" userId="24fd04f5-1db1-4044-9d5a-a2564da48616" providerId="ADAL" clId="{069E6D5C-44E2-4543-A9E5-23AB25AAE2AA}" dt="2019-05-28T12:33:28.510" v="41795"/>
          <ac:spMkLst>
            <pc:docMk/>
            <pc:sldMk cId="739696860" sldId="634"/>
            <ac:spMk id="94" creationId="{2782CA1B-2B37-4C24-97C1-9EC681464868}"/>
          </ac:spMkLst>
        </pc:spChg>
        <pc:spChg chg="del mod ord">
          <ac:chgData name="Nwokenna, Ola" userId="24fd04f5-1db1-4044-9d5a-a2564da48616" providerId="ADAL" clId="{069E6D5C-44E2-4543-A9E5-23AB25AAE2AA}" dt="2019-05-28T11:30:13.516" v="24608"/>
          <ac:spMkLst>
            <pc:docMk/>
            <pc:sldMk cId="739696860" sldId="634"/>
            <ac:spMk id="97" creationId="{FBB75FFC-BAB9-4A6B-8F03-6355B11E6661}"/>
          </ac:spMkLst>
        </pc:spChg>
        <pc:spChg chg="add mod ord">
          <ac:chgData name="Nwokenna, Ola" userId="24fd04f5-1db1-4044-9d5a-a2564da48616" providerId="ADAL" clId="{069E6D5C-44E2-4543-A9E5-23AB25AAE2AA}" dt="2019-05-28T12:33:28.497" v="41781"/>
          <ac:spMkLst>
            <pc:docMk/>
            <pc:sldMk cId="739696860" sldId="634"/>
            <ac:spMk id="99" creationId="{E5E200FF-0A5E-4816-9E02-445306D06FBC}"/>
          </ac:spMkLst>
        </pc:spChg>
        <pc:spChg chg="add del mod ord">
          <ac:chgData name="Nwokenna, Ola" userId="24fd04f5-1db1-4044-9d5a-a2564da48616" providerId="ADAL" clId="{069E6D5C-44E2-4543-A9E5-23AB25AAE2AA}" dt="2019-05-28T11:30:39.747" v="25240"/>
          <ac:spMkLst>
            <pc:docMk/>
            <pc:sldMk cId="739696860" sldId="634"/>
            <ac:spMk id="100" creationId="{5E5DD83F-C0A8-41ED-B116-41C7ACCEA745}"/>
          </ac:spMkLst>
        </pc:spChg>
        <pc:spChg chg="add del mod ord">
          <ac:chgData name="Nwokenna, Ola" userId="24fd04f5-1db1-4044-9d5a-a2564da48616" providerId="ADAL" clId="{069E6D5C-44E2-4543-A9E5-23AB25AAE2AA}" dt="2019-05-28T11:30:45.266" v="25566"/>
          <ac:spMkLst>
            <pc:docMk/>
            <pc:sldMk cId="739696860" sldId="634"/>
            <ac:spMk id="101" creationId="{D59773F4-6290-4A5F-B728-E7CB48A516C1}"/>
          </ac:spMkLst>
        </pc:spChg>
        <pc:spChg chg="del mod ord">
          <ac:chgData name="Nwokenna, Ola" userId="24fd04f5-1db1-4044-9d5a-a2564da48616" providerId="ADAL" clId="{069E6D5C-44E2-4543-A9E5-23AB25AAE2AA}" dt="2019-05-28T11:30:13.514" v="24606"/>
          <ac:spMkLst>
            <pc:docMk/>
            <pc:sldMk cId="739696860" sldId="634"/>
            <ac:spMk id="109" creationId="{D692ECCB-AE5F-4652-B5AC-0DCABA571490}"/>
          </ac:spMkLst>
        </pc:spChg>
        <pc:spChg chg="del mod ord">
          <ac:chgData name="Nwokenna, Ola" userId="24fd04f5-1db1-4044-9d5a-a2564da48616" providerId="ADAL" clId="{069E6D5C-44E2-4543-A9E5-23AB25AAE2AA}" dt="2019-05-28T11:30:13.513" v="24604"/>
          <ac:spMkLst>
            <pc:docMk/>
            <pc:sldMk cId="739696860" sldId="634"/>
            <ac:spMk id="111" creationId="{3E1CA86E-D69D-4E7C-A021-28DBF29F97D3}"/>
          </ac:spMkLst>
        </pc:spChg>
        <pc:spChg chg="add mod ord">
          <ac:chgData name="Nwokenna, Ola" userId="24fd04f5-1db1-4044-9d5a-a2564da48616" providerId="ADAL" clId="{069E6D5C-44E2-4543-A9E5-23AB25AAE2AA}" dt="2019-05-28T12:33:28.490" v="41767"/>
          <ac:spMkLst>
            <pc:docMk/>
            <pc:sldMk cId="739696860" sldId="634"/>
            <ac:spMk id="116" creationId="{9D778ADA-47D6-481D-804A-C23E6397E48E}"/>
          </ac:spMkLst>
        </pc:spChg>
        <pc:spChg chg="del mod ord">
          <ac:chgData name="Nwokenna, Ola" userId="24fd04f5-1db1-4044-9d5a-a2564da48616" providerId="ADAL" clId="{069E6D5C-44E2-4543-A9E5-23AB25AAE2AA}" dt="2019-05-28T11:26:22.404" v="20007"/>
          <ac:spMkLst>
            <pc:docMk/>
            <pc:sldMk cId="739696860" sldId="634"/>
            <ac:spMk id="117" creationId="{642E57FA-5BC2-4535-8B96-589D83B56A45}"/>
          </ac:spMkLst>
        </pc:spChg>
        <pc:spChg chg="del mod ord">
          <ac:chgData name="Nwokenna, Ola" userId="24fd04f5-1db1-4044-9d5a-a2564da48616" providerId="ADAL" clId="{069E6D5C-44E2-4543-A9E5-23AB25AAE2AA}" dt="2019-05-28T11:26:22.408" v="20011"/>
          <ac:spMkLst>
            <pc:docMk/>
            <pc:sldMk cId="739696860" sldId="634"/>
            <ac:spMk id="118" creationId="{31897082-CE70-4110-8017-0CAC56F99A5E}"/>
          </ac:spMkLst>
        </pc:spChg>
        <pc:spChg chg="del mod ord">
          <ac:chgData name="Nwokenna, Ola" userId="24fd04f5-1db1-4044-9d5a-a2564da48616" providerId="ADAL" clId="{069E6D5C-44E2-4543-A9E5-23AB25AAE2AA}" dt="2019-05-28T11:26:22.416" v="20015"/>
          <ac:spMkLst>
            <pc:docMk/>
            <pc:sldMk cId="739696860" sldId="634"/>
            <ac:spMk id="119" creationId="{2409E370-B84D-4C50-955E-4B09C76C1B82}"/>
          </ac:spMkLst>
        </pc:spChg>
        <pc:spChg chg="del mod ord">
          <ac:chgData name="Nwokenna, Ola" userId="24fd04f5-1db1-4044-9d5a-a2564da48616" providerId="ADAL" clId="{069E6D5C-44E2-4543-A9E5-23AB25AAE2AA}" dt="2019-05-28T11:26:22.421" v="20019"/>
          <ac:spMkLst>
            <pc:docMk/>
            <pc:sldMk cId="739696860" sldId="634"/>
            <ac:spMk id="120" creationId="{3874D667-74C3-4F9B-BCA0-24CD2C35D9EF}"/>
          </ac:spMkLst>
        </pc:spChg>
        <pc:spChg chg="del mod ord">
          <ac:chgData name="Nwokenna, Ola" userId="24fd04f5-1db1-4044-9d5a-a2564da48616" providerId="ADAL" clId="{069E6D5C-44E2-4543-A9E5-23AB25AAE2AA}" dt="2019-05-28T11:26:22.426" v="20023"/>
          <ac:spMkLst>
            <pc:docMk/>
            <pc:sldMk cId="739696860" sldId="634"/>
            <ac:spMk id="121" creationId="{C6CF97AA-6328-45B6-BA08-3016C3FAA4C4}"/>
          </ac:spMkLst>
        </pc:spChg>
        <pc:spChg chg="add mod ord">
          <ac:chgData name="Nwokenna, Ola" userId="24fd04f5-1db1-4044-9d5a-a2564da48616" providerId="ADAL" clId="{069E6D5C-44E2-4543-A9E5-23AB25AAE2AA}" dt="2019-05-28T12:33:28.491" v="41769"/>
          <ac:spMkLst>
            <pc:docMk/>
            <pc:sldMk cId="739696860" sldId="634"/>
            <ac:spMk id="122" creationId="{37547223-5624-4C62-A713-3EABC361647C}"/>
          </ac:spMkLst>
        </pc:spChg>
        <pc:spChg chg="add mod ord">
          <ac:chgData name="Nwokenna, Ola" userId="24fd04f5-1db1-4044-9d5a-a2564da48616" providerId="ADAL" clId="{069E6D5C-44E2-4543-A9E5-23AB25AAE2AA}" dt="2019-05-28T12:33:28.492" v="41771"/>
          <ac:spMkLst>
            <pc:docMk/>
            <pc:sldMk cId="739696860" sldId="634"/>
            <ac:spMk id="123" creationId="{C718B102-A571-447D-9409-C7EB1F9147D0}"/>
          </ac:spMkLst>
        </pc:spChg>
        <pc:spChg chg="add mod ord">
          <ac:chgData name="Nwokenna, Ola" userId="24fd04f5-1db1-4044-9d5a-a2564da48616" providerId="ADAL" clId="{069E6D5C-44E2-4543-A9E5-23AB25AAE2AA}" dt="2019-05-28T12:33:28.493" v="41773"/>
          <ac:spMkLst>
            <pc:docMk/>
            <pc:sldMk cId="739696860" sldId="634"/>
            <ac:spMk id="124" creationId="{B047660A-BB49-4F93-9D13-9D11D361F70A}"/>
          </ac:spMkLst>
        </pc:spChg>
        <pc:spChg chg="add mod ord">
          <ac:chgData name="Nwokenna, Ola" userId="24fd04f5-1db1-4044-9d5a-a2564da48616" providerId="ADAL" clId="{069E6D5C-44E2-4543-A9E5-23AB25AAE2AA}" dt="2019-05-28T12:33:28.489" v="41765"/>
          <ac:spMkLst>
            <pc:docMk/>
            <pc:sldMk cId="739696860" sldId="634"/>
            <ac:spMk id="125" creationId="{37BE707D-D5D2-4692-85A4-C8BD6EF1C4F3}"/>
          </ac:spMkLst>
        </pc:spChg>
        <pc:spChg chg="add mod ord">
          <ac:chgData name="Nwokenna, Ola" userId="24fd04f5-1db1-4044-9d5a-a2564da48616" providerId="ADAL" clId="{069E6D5C-44E2-4543-A9E5-23AB25AAE2AA}" dt="2019-05-28T12:33:28.494" v="41775"/>
          <ac:spMkLst>
            <pc:docMk/>
            <pc:sldMk cId="739696860" sldId="634"/>
            <ac:spMk id="126" creationId="{5F6298C9-FB53-41C4-AC54-8DD7C33A1395}"/>
          </ac:spMkLst>
        </pc:spChg>
        <pc:spChg chg="add del mod ord">
          <ac:chgData name="Nwokenna, Ola" userId="24fd04f5-1db1-4044-9d5a-a2564da48616" providerId="ADAL" clId="{069E6D5C-44E2-4543-A9E5-23AB25AAE2AA}" dt="2019-05-28T12:33:28.277" v="41714"/>
          <ac:spMkLst>
            <pc:docMk/>
            <pc:sldMk cId="739696860" sldId="634"/>
            <ac:spMk id="127" creationId="{6DBC4760-A5A0-4E09-9087-D61AEBCA0EBB}"/>
          </ac:spMkLst>
        </pc:spChg>
        <pc:spChg chg="del mod ord">
          <ac:chgData name="Nwokenna, Ola" userId="24fd04f5-1db1-4044-9d5a-a2564da48616" providerId="ADAL" clId="{069E6D5C-44E2-4543-A9E5-23AB25AAE2AA}" dt="2019-05-28T11:26:22.401" v="20005"/>
          <ac:spMkLst>
            <pc:docMk/>
            <pc:sldMk cId="739696860" sldId="634"/>
            <ac:spMk id="131" creationId="{D28BB5B6-3C65-4566-BD38-F551BB8380E4}"/>
          </ac:spMkLst>
        </pc:spChg>
        <pc:spChg chg="del mod ord">
          <ac:chgData name="Nwokenna, Ola" userId="24fd04f5-1db1-4044-9d5a-a2564da48616" providerId="ADAL" clId="{069E6D5C-44E2-4543-A9E5-23AB25AAE2AA}" dt="2019-05-28T11:26:22.406" v="20009"/>
          <ac:spMkLst>
            <pc:docMk/>
            <pc:sldMk cId="739696860" sldId="634"/>
            <ac:spMk id="132" creationId="{E4742F02-BCA2-4630-81CF-1299B5A597BE}"/>
          </ac:spMkLst>
        </pc:spChg>
        <pc:spChg chg="del mod ord">
          <ac:chgData name="Nwokenna, Ola" userId="24fd04f5-1db1-4044-9d5a-a2564da48616" providerId="ADAL" clId="{069E6D5C-44E2-4543-A9E5-23AB25AAE2AA}" dt="2019-05-28T11:26:22.410" v="20013"/>
          <ac:spMkLst>
            <pc:docMk/>
            <pc:sldMk cId="739696860" sldId="634"/>
            <ac:spMk id="133" creationId="{2E799CFE-BCB4-4108-8DF7-BDA6AFE52FC5}"/>
          </ac:spMkLst>
        </pc:spChg>
        <pc:spChg chg="del mod ord">
          <ac:chgData name="Nwokenna, Ola" userId="24fd04f5-1db1-4044-9d5a-a2564da48616" providerId="ADAL" clId="{069E6D5C-44E2-4543-A9E5-23AB25AAE2AA}" dt="2019-05-28T11:26:22.419" v="20017"/>
          <ac:spMkLst>
            <pc:docMk/>
            <pc:sldMk cId="739696860" sldId="634"/>
            <ac:spMk id="134" creationId="{3B2EF8AE-35A9-428D-AA76-33C3C89BE9A5}"/>
          </ac:spMkLst>
        </pc:spChg>
        <pc:spChg chg="del mod ord">
          <ac:chgData name="Nwokenna, Ola" userId="24fd04f5-1db1-4044-9d5a-a2564da48616" providerId="ADAL" clId="{069E6D5C-44E2-4543-A9E5-23AB25AAE2AA}" dt="2019-05-28T11:26:22.424" v="20021"/>
          <ac:spMkLst>
            <pc:docMk/>
            <pc:sldMk cId="739696860" sldId="634"/>
            <ac:spMk id="135" creationId="{4D5B071E-7E4F-48D4-A07C-B05D514DAB7A}"/>
          </ac:spMkLst>
        </pc:spChg>
        <pc:spChg chg="del mod ord">
          <ac:chgData name="Nwokenna, Ola" userId="24fd04f5-1db1-4044-9d5a-a2564da48616" providerId="ADAL" clId="{069E6D5C-44E2-4543-A9E5-23AB25AAE2AA}" dt="2019-05-28T11:26:22.431" v="20027"/>
          <ac:spMkLst>
            <pc:docMk/>
            <pc:sldMk cId="739696860" sldId="634"/>
            <ac:spMk id="143" creationId="{D75C7416-7644-4605-B6AE-212201793996}"/>
          </ac:spMkLst>
        </pc:spChg>
        <pc:spChg chg="del mod ord">
          <ac:chgData name="Nwokenna, Ola" userId="24fd04f5-1db1-4044-9d5a-a2564da48616" providerId="ADAL" clId="{069E6D5C-44E2-4543-A9E5-23AB25AAE2AA}" dt="2019-05-28T11:26:22.430" v="20025"/>
          <ac:spMkLst>
            <pc:docMk/>
            <pc:sldMk cId="739696860" sldId="634"/>
            <ac:spMk id="145" creationId="{75C14128-E2D0-4EE9-B82A-44E20756B789}"/>
          </ac:spMkLst>
        </pc:spChg>
        <pc:spChg chg="del mod ord">
          <ac:chgData name="Nwokenna, Ola" userId="24fd04f5-1db1-4044-9d5a-a2564da48616" providerId="ADAL" clId="{069E6D5C-44E2-4543-A9E5-23AB25AAE2AA}" dt="2019-05-28T11:26:22.433" v="20029"/>
          <ac:spMkLst>
            <pc:docMk/>
            <pc:sldMk cId="739696860" sldId="634"/>
            <ac:spMk id="146" creationId="{549AC91D-2FDE-440B-BEFA-477790C44B40}"/>
          </ac:spMkLst>
        </pc:spChg>
        <pc:spChg chg="mod ord">
          <ac:chgData name="Nwokenna, Ola" userId="24fd04f5-1db1-4044-9d5a-a2564da48616" providerId="ADAL" clId="{069E6D5C-44E2-4543-A9E5-23AB25AAE2AA}" dt="2019-05-28T12:33:28.473" v="41750"/>
          <ac:spMkLst>
            <pc:docMk/>
            <pc:sldMk cId="739696860" sldId="634"/>
            <ac:spMk id="155" creationId="{3848C6C1-832F-46E6-8326-D3D20FAC61B8}"/>
          </ac:spMkLst>
        </pc:spChg>
        <pc:spChg chg="mod ord">
          <ac:chgData name="Nwokenna, Ola" userId="24fd04f5-1db1-4044-9d5a-a2564da48616" providerId="ADAL" clId="{069E6D5C-44E2-4543-A9E5-23AB25AAE2AA}" dt="2019-05-28T12:33:28.474" v="41752"/>
          <ac:spMkLst>
            <pc:docMk/>
            <pc:sldMk cId="739696860" sldId="634"/>
            <ac:spMk id="156" creationId="{4A076EFE-508D-4407-B8BE-89487E58A5B9}"/>
          </ac:spMkLst>
        </pc:spChg>
        <pc:spChg chg="mod ord">
          <ac:chgData name="Nwokenna, Ola" userId="24fd04f5-1db1-4044-9d5a-a2564da48616" providerId="ADAL" clId="{069E6D5C-44E2-4543-A9E5-23AB25AAE2AA}" dt="2019-05-28T12:33:28.476" v="41754"/>
          <ac:spMkLst>
            <pc:docMk/>
            <pc:sldMk cId="739696860" sldId="634"/>
            <ac:spMk id="157" creationId="{09555866-F31B-40AD-A2B5-1A0BB1817FE8}"/>
          </ac:spMkLst>
        </pc:spChg>
        <pc:spChg chg="mod ord">
          <ac:chgData name="Nwokenna, Ola" userId="24fd04f5-1db1-4044-9d5a-a2564da48616" providerId="ADAL" clId="{069E6D5C-44E2-4543-A9E5-23AB25AAE2AA}" dt="2019-05-28T12:33:28.478" v="41756"/>
          <ac:spMkLst>
            <pc:docMk/>
            <pc:sldMk cId="739696860" sldId="634"/>
            <ac:spMk id="158" creationId="{7E9F29EB-68AF-4900-9DF5-5AAEAE4120E1}"/>
          </ac:spMkLst>
        </pc:spChg>
        <pc:spChg chg="mod ord">
          <ac:chgData name="Nwokenna, Ola" userId="24fd04f5-1db1-4044-9d5a-a2564da48616" providerId="ADAL" clId="{069E6D5C-44E2-4543-A9E5-23AB25AAE2AA}" dt="2019-05-28T12:33:28.480" v="41758"/>
          <ac:spMkLst>
            <pc:docMk/>
            <pc:sldMk cId="739696860" sldId="634"/>
            <ac:spMk id="159" creationId="{9748CDC4-9766-4953-93B7-7FE25B22E679}"/>
          </ac:spMkLst>
        </pc:spChg>
        <pc:spChg chg="mod ord">
          <ac:chgData name="Nwokenna, Ola" userId="24fd04f5-1db1-4044-9d5a-a2564da48616" providerId="ADAL" clId="{069E6D5C-44E2-4543-A9E5-23AB25AAE2AA}" dt="2019-05-28T12:33:28.481" v="41760"/>
          <ac:spMkLst>
            <pc:docMk/>
            <pc:sldMk cId="739696860" sldId="634"/>
            <ac:spMk id="160" creationId="{1063686F-254B-4A4E-931D-A0CE7FD11A8D}"/>
          </ac:spMkLst>
        </pc:spChg>
        <pc:graphicFrameChg chg="mod ord">
          <ac:chgData name="Nwokenna, Ola" userId="24fd04f5-1db1-4044-9d5a-a2564da48616" providerId="ADAL" clId="{069E6D5C-44E2-4543-A9E5-23AB25AAE2AA}" dt="2019-05-28T12:33:28.540" v="41805"/>
          <ac:graphicFrameMkLst>
            <pc:docMk/>
            <pc:sldMk cId="739696860" sldId="634"/>
            <ac:graphicFrameMk id="7" creationId="{1E8C6D2D-8DF7-4E6D-B0BA-17C77FEFA8B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07.526" v="19681"/>
          <ac:graphicFrameMkLst>
            <pc:docMk/>
            <pc:sldMk cId="739696860" sldId="634"/>
            <ac:graphicFrameMk id="29" creationId="{76B8B8CF-1A72-4874-B518-32FB2CE4E7F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08.578" v="19800"/>
          <ac:graphicFrameMkLst>
            <pc:docMk/>
            <pc:sldMk cId="739696860" sldId="634"/>
            <ac:graphicFrameMk id="30" creationId="{E4E8DD0F-FECB-4A9E-B726-246263DD8DC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09.758" v="19926"/>
          <ac:graphicFrameMkLst>
            <pc:docMk/>
            <pc:sldMk cId="739696860" sldId="634"/>
            <ac:graphicFrameMk id="31" creationId="{3E72150B-32CD-4AE6-AA90-5B0DC2EFA2A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22.664" v="20084"/>
          <ac:graphicFrameMkLst>
            <pc:docMk/>
            <pc:sldMk cId="739696860" sldId="634"/>
            <ac:graphicFrameMk id="33" creationId="{381DD8E0-1F4B-4AE7-B240-AA690855835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23.946" v="20143"/>
          <ac:graphicFrameMkLst>
            <pc:docMk/>
            <pc:sldMk cId="739696860" sldId="634"/>
            <ac:graphicFrameMk id="34" creationId="{387CA664-8C44-4674-BC02-6DE71490BF6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25.573" v="20202"/>
          <ac:graphicFrameMkLst>
            <pc:docMk/>
            <pc:sldMk cId="739696860" sldId="634"/>
            <ac:graphicFrameMk id="35" creationId="{C4A71FCE-8FD1-43C2-8D0F-ADEA0DA64FE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47.488" v="21216"/>
          <ac:graphicFrameMkLst>
            <pc:docMk/>
            <pc:sldMk cId="739696860" sldId="634"/>
            <ac:graphicFrameMk id="36" creationId="{BCBBB1B6-3D1C-4393-BE12-00011B705DD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48.341" v="21535"/>
          <ac:graphicFrameMkLst>
            <pc:docMk/>
            <pc:sldMk cId="739696860" sldId="634"/>
            <ac:graphicFrameMk id="52" creationId="{94BC3D6B-491A-4F9E-9A38-854C04B3D94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59.635" v="22056"/>
          <ac:graphicFrameMkLst>
            <pc:docMk/>
            <pc:sldMk cId="739696860" sldId="634"/>
            <ac:graphicFrameMk id="63" creationId="{7F555E03-BFDA-4A6E-B36D-6128EA27524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7:54.185" v="22269"/>
          <ac:graphicFrameMkLst>
            <pc:docMk/>
            <pc:sldMk cId="739696860" sldId="634"/>
            <ac:graphicFrameMk id="69" creationId="{BDE89F51-9F4A-43E8-BAC6-30A51E16390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7:54.698" v="22350"/>
          <ac:graphicFrameMkLst>
            <pc:docMk/>
            <pc:sldMk cId="739696860" sldId="634"/>
            <ac:graphicFrameMk id="71" creationId="{1CED9ECD-AF78-4B7A-B015-98FC3660374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7:56.089" v="22432"/>
          <ac:graphicFrameMkLst>
            <pc:docMk/>
            <pc:sldMk cId="739696860" sldId="634"/>
            <ac:graphicFrameMk id="72" creationId="{4EA23518-C578-4937-B4E1-041FA13A25C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7:57.907" v="22511"/>
          <ac:graphicFrameMkLst>
            <pc:docMk/>
            <pc:sldMk cId="739696860" sldId="634"/>
            <ac:graphicFrameMk id="73" creationId="{F7427B8A-C4F0-43FF-BB2A-251FE7DAB1F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7:58.757" v="22586"/>
          <ac:graphicFrameMkLst>
            <pc:docMk/>
            <pc:sldMk cId="739696860" sldId="634"/>
            <ac:graphicFrameMk id="74" creationId="{1E4DDC82-C255-4973-8E57-DE2DC288F85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00.337" v="22666"/>
          <ac:graphicFrameMkLst>
            <pc:docMk/>
            <pc:sldMk cId="739696860" sldId="634"/>
            <ac:graphicFrameMk id="75" creationId="{1C30A795-A4A1-4900-A6AF-E6382C3B696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01.237" v="22743"/>
          <ac:graphicFrameMkLst>
            <pc:docMk/>
            <pc:sldMk cId="739696860" sldId="634"/>
            <ac:graphicFrameMk id="76" creationId="{C9900D18-FCC0-48BF-8818-8BDA5373347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9:52.145" v="24003"/>
          <ac:graphicFrameMkLst>
            <pc:docMk/>
            <pc:sldMk cId="739696860" sldId="634"/>
            <ac:graphicFrameMk id="77" creationId="{AB6BF0A5-352F-4EE6-B48D-827A40513413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1:29:30.856" v="23659"/>
          <ac:graphicFrameMkLst>
            <pc:docMk/>
            <pc:sldMk cId="739696860" sldId="634"/>
            <ac:graphicFrameMk id="78" creationId="{06FC99D3-C583-4F70-808A-113543CF307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9:36.808" v="23895"/>
          <ac:graphicFrameMkLst>
            <pc:docMk/>
            <pc:sldMk cId="739696860" sldId="634"/>
            <ac:graphicFrameMk id="95" creationId="{BEF9BFB0-357C-4EAB-84D8-044D5800039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10.188" v="24470"/>
          <ac:graphicFrameMkLst>
            <pc:docMk/>
            <pc:sldMk cId="739696860" sldId="634"/>
            <ac:graphicFrameMk id="96" creationId="{8C55CF03-1FFD-4B15-B160-00A364D8448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13.519" v="24609"/>
          <ac:graphicFrameMkLst>
            <pc:docMk/>
            <pc:sldMk cId="739696860" sldId="634"/>
            <ac:graphicFrameMk id="98" creationId="{F3912BB3-5C16-454B-BC03-1B3AD493726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16.085" v="24659"/>
          <ac:graphicFrameMkLst>
            <pc:docMk/>
            <pc:sldMk cId="739696860" sldId="634"/>
            <ac:graphicFrameMk id="102" creationId="{D68EE801-1EFD-4685-919B-33B986F08AD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20.494" v="24860"/>
          <ac:graphicFrameMkLst>
            <pc:docMk/>
            <pc:sldMk cId="739696860" sldId="634"/>
            <ac:graphicFrameMk id="103" creationId="{4D998EA4-D3EF-49DB-AB06-DAEF55BC476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23.620" v="24979"/>
          <ac:graphicFrameMkLst>
            <pc:docMk/>
            <pc:sldMk cId="739696860" sldId="634"/>
            <ac:graphicFrameMk id="104" creationId="{448BDE5A-B31B-43A4-BCF5-1C7FB679CFA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35.736" v="25067"/>
          <ac:graphicFrameMkLst>
            <pc:docMk/>
            <pc:sldMk cId="739696860" sldId="634"/>
            <ac:graphicFrameMk id="105" creationId="{C2B2042F-FB2D-408E-8357-459FB0189CD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37.517" v="25157"/>
          <ac:graphicFrameMkLst>
            <pc:docMk/>
            <pc:sldMk cId="739696860" sldId="634"/>
            <ac:graphicFrameMk id="106" creationId="{FD754E4B-1F4A-4A20-A458-8A4489576C3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39.804" v="25245"/>
          <ac:graphicFrameMkLst>
            <pc:docMk/>
            <pc:sldMk cId="739696860" sldId="634"/>
            <ac:graphicFrameMk id="107" creationId="{D2A45F3B-2C6A-425C-AD0A-5377DB0C7DA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41.378" v="25331"/>
          <ac:graphicFrameMkLst>
            <pc:docMk/>
            <pc:sldMk cId="739696860" sldId="634"/>
            <ac:graphicFrameMk id="108" creationId="{9A9D01F6-EDC2-4959-88C8-122936A3E22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42.213" v="25410"/>
          <ac:graphicFrameMkLst>
            <pc:docMk/>
            <pc:sldMk cId="739696860" sldId="634"/>
            <ac:graphicFrameMk id="110" creationId="{1E4A8EF2-E428-4371-AD83-A03952E8C57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43.692" v="25490"/>
          <ac:graphicFrameMkLst>
            <pc:docMk/>
            <pc:sldMk cId="739696860" sldId="634"/>
            <ac:graphicFrameMk id="112" creationId="{6D4E11CD-A81A-4534-BF6E-A339B7D8F67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45.305" v="25567"/>
          <ac:graphicFrameMkLst>
            <pc:docMk/>
            <pc:sldMk cId="739696860" sldId="634"/>
            <ac:graphicFrameMk id="113" creationId="{BC7A9DC8-0B0F-4550-8234-72401902CA6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19.301" v="41073"/>
          <ac:graphicFrameMkLst>
            <pc:docMk/>
            <pc:sldMk cId="739696860" sldId="634"/>
            <ac:graphicFrameMk id="114" creationId="{6B00E814-2A71-4DC9-B826-FDE3D5349EA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24.474" v="41641"/>
          <ac:graphicFrameMkLst>
            <pc:docMk/>
            <pc:sldMk cId="739696860" sldId="634"/>
            <ac:graphicFrameMk id="115" creationId="{BF24C914-C0EC-4AB5-8067-B1AC80F2E7C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28.420" v="41737"/>
          <ac:graphicFrameMkLst>
            <pc:docMk/>
            <pc:sldMk cId="739696860" sldId="634"/>
            <ac:graphicFrameMk id="128" creationId="{764F3AF9-942D-4589-ACD9-DA25E509E7D0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33:28.488" v="41763"/>
          <ac:graphicFrameMkLst>
            <pc:docMk/>
            <pc:sldMk cId="739696860" sldId="634"/>
            <ac:graphicFrameMk id="129" creationId="{5FB7CB50-EEA5-4BD7-B607-DB01D64843A2}"/>
          </ac:graphicFrameMkLst>
        </pc:graphicFrameChg>
        <pc:graphicFrameChg chg="del">
          <ac:chgData name="Nwokenna, Ola" userId="24fd04f5-1db1-4044-9d5a-a2564da48616" providerId="ADAL" clId="{069E6D5C-44E2-4543-A9E5-23AB25AAE2AA}" dt="2019-05-28T11:26:05.732" v="19571"/>
          <ac:graphicFrameMkLst>
            <pc:docMk/>
            <pc:sldMk cId="739696860" sldId="634"/>
            <ac:graphicFrameMk id="154" creationId="{A1615C8F-B30A-45CB-9DCE-4D63783474A2}"/>
          </ac:graphicFrameMkLst>
        </pc:graphicFrameChg>
      </pc:sldChg>
      <pc:sldChg chg="addSp delSp modSp add del ord">
        <pc:chgData name="Nwokenna, Ola" userId="24fd04f5-1db1-4044-9d5a-a2564da48616" providerId="ADAL" clId="{069E6D5C-44E2-4543-A9E5-23AB25AAE2AA}" dt="2019-05-28T11:14:49.403" v="10069" actId="2696"/>
        <pc:sldMkLst>
          <pc:docMk/>
          <pc:sldMk cId="1681331638" sldId="634"/>
        </pc:sldMkLst>
        <pc:spChg chg="mod ord">
          <ac:chgData name="Nwokenna, Ola" userId="24fd04f5-1db1-4044-9d5a-a2564da48616" providerId="ADAL" clId="{069E6D5C-44E2-4543-A9E5-23AB25AAE2AA}" dt="2019-05-28T11:05:27.540" v="2887"/>
          <ac:spMkLst>
            <pc:docMk/>
            <pc:sldMk cId="1681331638" sldId="634"/>
            <ac:spMk id="2" creationId="{A06263D5-7442-4CE4-9E5E-394B91A8AF1B}"/>
          </ac:spMkLst>
        </pc:spChg>
        <pc:spChg chg="del mod ord">
          <ac:chgData name="Nwokenna, Ola" userId="24fd04f5-1db1-4044-9d5a-a2564da48616" providerId="ADAL" clId="{069E6D5C-44E2-4543-A9E5-23AB25AAE2AA}" dt="2019-05-28T10:59:18.969" v="130" actId="478"/>
          <ac:spMkLst>
            <pc:docMk/>
            <pc:sldMk cId="1681331638" sldId="634"/>
            <ac:spMk id="3" creationId="{050D9F3D-BD2E-4EA9-9B16-919E5B481EF6}"/>
          </ac:spMkLst>
        </pc:spChg>
        <pc:spChg chg="mod ord">
          <ac:chgData name="Nwokenna, Ola" userId="24fd04f5-1db1-4044-9d5a-a2564da48616" providerId="ADAL" clId="{069E6D5C-44E2-4543-A9E5-23AB25AAE2AA}" dt="2019-05-28T11:05:27.544" v="2889"/>
          <ac:spMkLst>
            <pc:docMk/>
            <pc:sldMk cId="1681331638" sldId="634"/>
            <ac:spMk id="4" creationId="{636F4C3A-09AA-4840-BA6B-FF42C3E99B85}"/>
          </ac:spMkLst>
        </pc:spChg>
        <pc:spChg chg="add mod ord">
          <ac:chgData name="Nwokenna, Ola" userId="24fd04f5-1db1-4044-9d5a-a2564da48616" providerId="ADAL" clId="{069E6D5C-44E2-4543-A9E5-23AB25AAE2AA}" dt="2019-05-28T11:05:27.537" v="2885"/>
          <ac:spMkLst>
            <pc:docMk/>
            <pc:sldMk cId="1681331638" sldId="634"/>
            <ac:spMk id="5" creationId="{9FC76EC6-EC6E-4FA5-8DB3-3C5B368248CB}"/>
          </ac:spMkLst>
        </pc:spChg>
        <pc:spChg chg="add mod ord">
          <ac:chgData name="Nwokenna, Ola" userId="24fd04f5-1db1-4044-9d5a-a2564da48616" providerId="ADAL" clId="{069E6D5C-44E2-4543-A9E5-23AB25AAE2AA}" dt="2019-05-28T11:05:27.551" v="2896"/>
          <ac:spMkLst>
            <pc:docMk/>
            <pc:sldMk cId="1681331638" sldId="634"/>
            <ac:spMk id="9" creationId="{BA9F3F4F-FC61-436A-B029-9C872DA15362}"/>
          </ac:spMkLst>
        </pc:spChg>
        <pc:spChg chg="add mod ord">
          <ac:chgData name="Nwokenna, Ola" userId="24fd04f5-1db1-4044-9d5a-a2564da48616" providerId="ADAL" clId="{069E6D5C-44E2-4543-A9E5-23AB25AAE2AA}" dt="2019-05-28T11:05:27.549" v="2894"/>
          <ac:spMkLst>
            <pc:docMk/>
            <pc:sldMk cId="1681331638" sldId="634"/>
            <ac:spMk id="10" creationId="{1C707383-650C-4FB4-8B19-35406ADAB354}"/>
          </ac:spMkLst>
        </pc:spChg>
        <pc:spChg chg="add mod ord">
          <ac:chgData name="Nwokenna, Ola" userId="24fd04f5-1db1-4044-9d5a-a2564da48616" providerId="ADAL" clId="{069E6D5C-44E2-4543-A9E5-23AB25AAE2AA}" dt="2019-05-28T11:05:27.553" v="2898"/>
          <ac:spMkLst>
            <pc:docMk/>
            <pc:sldMk cId="1681331638" sldId="634"/>
            <ac:spMk id="11" creationId="{C0D262A3-31BF-4DD8-BE2E-A966AC7D4892}"/>
          </ac:spMkLst>
        </pc:spChg>
        <pc:spChg chg="add del mod ord">
          <ac:chgData name="Nwokenna, Ola" userId="24fd04f5-1db1-4044-9d5a-a2564da48616" providerId="ADAL" clId="{069E6D5C-44E2-4543-A9E5-23AB25AAE2AA}" dt="2019-05-28T11:03:30.390" v="1774"/>
          <ac:spMkLst>
            <pc:docMk/>
            <pc:sldMk cId="1681331638" sldId="634"/>
            <ac:spMk id="12" creationId="{217C41D0-7A57-4D61-B16B-A868B5607A6F}"/>
          </ac:spMkLst>
        </pc:spChg>
        <pc:spChg chg="add del mod ord">
          <ac:chgData name="Nwokenna, Ola" userId="24fd04f5-1db1-4044-9d5a-a2564da48616" providerId="ADAL" clId="{069E6D5C-44E2-4543-A9E5-23AB25AAE2AA}" dt="2019-05-28T11:03:28.373" v="1685"/>
          <ac:spMkLst>
            <pc:docMk/>
            <pc:sldMk cId="1681331638" sldId="634"/>
            <ac:spMk id="13" creationId="{0A71EDD0-56EF-419B-87AF-425710E77AD1}"/>
          </ac:spMkLst>
        </pc:spChg>
        <pc:spChg chg="add del mod ord">
          <ac:chgData name="Nwokenna, Ola" userId="24fd04f5-1db1-4044-9d5a-a2564da48616" providerId="ADAL" clId="{069E6D5C-44E2-4543-A9E5-23AB25AAE2AA}" dt="2019-05-28T11:03:28.387" v="1687"/>
          <ac:spMkLst>
            <pc:docMk/>
            <pc:sldMk cId="1681331638" sldId="634"/>
            <ac:spMk id="14" creationId="{4098C65B-335D-4D22-8B77-875F871A06E0}"/>
          </ac:spMkLst>
        </pc:spChg>
        <pc:spChg chg="add mod ord">
          <ac:chgData name="Nwokenna, Ola" userId="24fd04f5-1db1-4044-9d5a-a2564da48616" providerId="ADAL" clId="{069E6D5C-44E2-4543-A9E5-23AB25AAE2AA}" dt="2019-05-28T11:05:27.559" v="2902"/>
          <ac:spMkLst>
            <pc:docMk/>
            <pc:sldMk cId="1681331638" sldId="634"/>
            <ac:spMk id="15" creationId="{0E1DA30D-8B35-480A-88DB-F033CDD87C8E}"/>
          </ac:spMkLst>
        </pc:spChg>
        <pc:spChg chg="add mod ord">
          <ac:chgData name="Nwokenna, Ola" userId="24fd04f5-1db1-4044-9d5a-a2564da48616" providerId="ADAL" clId="{069E6D5C-44E2-4543-A9E5-23AB25AAE2AA}" dt="2019-05-28T11:05:27.555" v="2900"/>
          <ac:spMkLst>
            <pc:docMk/>
            <pc:sldMk cId="1681331638" sldId="634"/>
            <ac:spMk id="16" creationId="{A670208C-0CB6-4CAF-8A2C-185A838683DC}"/>
          </ac:spMkLst>
        </pc:spChg>
        <pc:spChg chg="add mod ord">
          <ac:chgData name="Nwokenna, Ola" userId="24fd04f5-1db1-4044-9d5a-a2564da48616" providerId="ADAL" clId="{069E6D5C-44E2-4543-A9E5-23AB25AAE2AA}" dt="2019-05-28T11:05:27.576" v="2906"/>
          <ac:spMkLst>
            <pc:docMk/>
            <pc:sldMk cId="1681331638" sldId="634"/>
            <ac:spMk id="17" creationId="{F0166EFD-9BCB-4586-AE21-711D312199DD}"/>
          </ac:spMkLst>
        </pc:spChg>
        <pc:spChg chg="add del mod ord">
          <ac:chgData name="Nwokenna, Ola" userId="24fd04f5-1db1-4044-9d5a-a2564da48616" providerId="ADAL" clId="{069E6D5C-44E2-4543-A9E5-23AB25AAE2AA}" dt="2019-05-28T11:03:30.162" v="1728"/>
          <ac:spMkLst>
            <pc:docMk/>
            <pc:sldMk cId="1681331638" sldId="634"/>
            <ac:spMk id="18" creationId="{6BC78CB3-59F3-4A9B-8208-69200AB90E7B}"/>
          </ac:spMkLst>
        </pc:spChg>
        <pc:spChg chg="add mod ord">
          <ac:chgData name="Nwokenna, Ola" userId="24fd04f5-1db1-4044-9d5a-a2564da48616" providerId="ADAL" clId="{069E6D5C-44E2-4543-A9E5-23AB25AAE2AA}" dt="2019-05-28T11:05:27.574" v="2904"/>
          <ac:spMkLst>
            <pc:docMk/>
            <pc:sldMk cId="1681331638" sldId="634"/>
            <ac:spMk id="19" creationId="{0BC24CB8-F52D-42E7-BD39-B1C639065EA2}"/>
          </ac:spMkLst>
        </pc:spChg>
        <pc:spChg chg="add mod ord">
          <ac:chgData name="Nwokenna, Ola" userId="24fd04f5-1db1-4044-9d5a-a2564da48616" providerId="ADAL" clId="{069E6D5C-44E2-4543-A9E5-23AB25AAE2AA}" dt="2019-05-28T11:05:27.577" v="2908"/>
          <ac:spMkLst>
            <pc:docMk/>
            <pc:sldMk cId="1681331638" sldId="634"/>
            <ac:spMk id="26" creationId="{0210E6B8-201C-4371-81B2-87324A7168AB}"/>
          </ac:spMkLst>
        </pc:spChg>
        <pc:spChg chg="add mod ord">
          <ac:chgData name="Nwokenna, Ola" userId="24fd04f5-1db1-4044-9d5a-a2564da48616" providerId="ADAL" clId="{069E6D5C-44E2-4543-A9E5-23AB25AAE2AA}" dt="2019-05-28T11:05:27.579" v="2910"/>
          <ac:spMkLst>
            <pc:docMk/>
            <pc:sldMk cId="1681331638" sldId="634"/>
            <ac:spMk id="27" creationId="{A78D05F0-EA48-4770-897F-CE0469C75AA9}"/>
          </ac:spMkLst>
        </pc:spChg>
        <pc:spChg chg="add mod ord">
          <ac:chgData name="Nwokenna, Ola" userId="24fd04f5-1db1-4044-9d5a-a2564da48616" providerId="ADAL" clId="{069E6D5C-44E2-4543-A9E5-23AB25AAE2AA}" dt="2019-05-28T11:05:27.580" v="2912"/>
          <ac:spMkLst>
            <pc:docMk/>
            <pc:sldMk cId="1681331638" sldId="634"/>
            <ac:spMk id="32" creationId="{E4185DA9-E05E-4B0E-9286-F0D13DA944FC}"/>
          </ac:spMkLst>
        </pc:spChg>
        <pc:spChg chg="add mod ord">
          <ac:chgData name="Nwokenna, Ola" userId="24fd04f5-1db1-4044-9d5a-a2564da48616" providerId="ADAL" clId="{069E6D5C-44E2-4543-A9E5-23AB25AAE2AA}" dt="2019-05-28T11:05:27.582" v="2914"/>
          <ac:spMkLst>
            <pc:docMk/>
            <pc:sldMk cId="1681331638" sldId="634"/>
            <ac:spMk id="33" creationId="{99CD9777-B041-434D-A5C6-D42204499292}"/>
          </ac:spMkLst>
        </pc:spChg>
        <pc:graphicFrameChg chg="add mod ord">
          <ac:chgData name="Nwokenna, Ola" userId="24fd04f5-1db1-4044-9d5a-a2564da48616" providerId="ADAL" clId="{069E6D5C-44E2-4543-A9E5-23AB25AAE2AA}" dt="2019-05-28T11:05:27.615" v="2916"/>
          <ac:graphicFrameMkLst>
            <pc:docMk/>
            <pc:sldMk cId="1681331638" sldId="634"/>
            <ac:graphicFrameMk id="6" creationId="{6D467A73-0188-475C-8284-26F3073C0FA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0:59:49.619" v="1088"/>
          <ac:graphicFrameMkLst>
            <pc:docMk/>
            <pc:sldMk cId="1681331638" sldId="634"/>
            <ac:graphicFrameMk id="21" creationId="{72C53E23-576A-464F-BA74-C1284565A48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0:59:51.130" v="1175"/>
          <ac:graphicFrameMkLst>
            <pc:docMk/>
            <pc:sldMk cId="1681331638" sldId="634"/>
            <ac:graphicFrameMk id="22" creationId="{AAD01CF6-5628-4E30-82B4-BC39C15FBDD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0:59:53.619" v="1310"/>
          <ac:graphicFrameMkLst>
            <pc:docMk/>
            <pc:sldMk cId="1681331638" sldId="634"/>
            <ac:graphicFrameMk id="23" creationId="{1D53897E-F662-4DE7-B618-E8612762BA9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3:22.528" v="1403"/>
          <ac:graphicFrameMkLst>
            <pc:docMk/>
            <pc:sldMk cId="1681331638" sldId="634"/>
            <ac:graphicFrameMk id="24" creationId="{DE5255D4-B1D6-4690-9B77-B0AE3922778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3:24.870" v="1540"/>
          <ac:graphicFrameMkLst>
            <pc:docMk/>
            <pc:sldMk cId="1681331638" sldId="634"/>
            <ac:graphicFrameMk id="25" creationId="{07F6370B-8277-45BE-B801-4404BC1DDA8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3:27.752" v="1637"/>
          <ac:graphicFrameMkLst>
            <pc:docMk/>
            <pc:sldMk cId="1681331638" sldId="634"/>
            <ac:graphicFrameMk id="28" creationId="{D7222F93-9EEA-4AA7-87CA-D31516D86D4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3:28.436" v="1688"/>
          <ac:graphicFrameMkLst>
            <pc:docMk/>
            <pc:sldMk cId="1681331638" sldId="634"/>
            <ac:graphicFrameMk id="29" creationId="{28F7F6ED-8D11-4816-8BB1-3BA6BA96078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3:30.431" v="1799"/>
          <ac:graphicFrameMkLst>
            <pc:docMk/>
            <pc:sldMk cId="1681331638" sldId="634"/>
            <ac:graphicFrameMk id="30" creationId="{99CA0E6F-09E7-4480-81F2-EB0AF7DFA42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02.284" v="2058"/>
          <ac:graphicFrameMkLst>
            <pc:docMk/>
            <pc:sldMk cId="1681331638" sldId="634"/>
            <ac:graphicFrameMk id="31" creationId="{AF34BD9C-CA02-4078-BA96-BBDDB65EEA0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20.097" v="2193"/>
          <ac:graphicFrameMkLst>
            <pc:docMk/>
            <pc:sldMk cId="1681331638" sldId="634"/>
            <ac:graphicFrameMk id="34" creationId="{2DCE8B99-DE5B-4AFF-8E04-4DCB6B29FC8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29.286" v="2236"/>
          <ac:graphicFrameMkLst>
            <pc:docMk/>
            <pc:sldMk cId="1681331638" sldId="634"/>
            <ac:graphicFrameMk id="35" creationId="{B375BED2-93F6-4AED-B31F-3219F787A2C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33.241" v="2287"/>
          <ac:graphicFrameMkLst>
            <pc:docMk/>
            <pc:sldMk cId="1681331638" sldId="634"/>
            <ac:graphicFrameMk id="36" creationId="{C7A226F8-3D6B-4186-AAD2-C22105B6280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44.722" v="2422"/>
          <ac:graphicFrameMkLst>
            <pc:docMk/>
            <pc:sldMk cId="1681331638" sldId="634"/>
            <ac:graphicFrameMk id="37" creationId="{B19104E2-C921-4869-8513-E120D708B88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46.620" v="2509"/>
          <ac:graphicFrameMkLst>
            <pc:docMk/>
            <pc:sldMk cId="1681331638" sldId="634"/>
            <ac:graphicFrameMk id="38" creationId="{A0A2D722-7185-4F3D-AB8B-310B730FF11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48.584" v="2596"/>
          <ac:graphicFrameMkLst>
            <pc:docMk/>
            <pc:sldMk cId="1681331638" sldId="634"/>
            <ac:graphicFrameMk id="39" creationId="{343564AF-8300-4553-AA6B-7CAC701EDFD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5:12.711" v="2677"/>
          <ac:graphicFrameMkLst>
            <pc:docMk/>
            <pc:sldMk cId="1681331638" sldId="634"/>
            <ac:graphicFrameMk id="40" creationId="{D084F16F-0B03-4376-B833-2F2FC5A1D0D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5:15.177" v="2758"/>
          <ac:graphicFrameMkLst>
            <pc:docMk/>
            <pc:sldMk cId="1681331638" sldId="634"/>
            <ac:graphicFrameMk id="41" creationId="{2F43BBB6-733E-4F76-BE9B-4740EDC1BD2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5:20.310" v="2817"/>
          <ac:graphicFrameMkLst>
            <pc:docMk/>
            <pc:sldMk cId="1681331638" sldId="634"/>
            <ac:graphicFrameMk id="42" creationId="{91614046-909F-4E3E-99C3-4BDAE1E6620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5:27.451" v="2878"/>
          <ac:graphicFrameMkLst>
            <pc:docMk/>
            <pc:sldMk cId="1681331638" sldId="634"/>
            <ac:graphicFrameMk id="43" creationId="{042884EB-1D14-40B0-A8AB-680DEF873A85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1:05:27.545" v="2890"/>
          <ac:graphicFrameMkLst>
            <pc:docMk/>
            <pc:sldMk cId="1681331638" sldId="634"/>
            <ac:graphicFrameMk id="44" creationId="{48FC5418-4422-41C6-9DE4-C9204B2D69C5}"/>
          </ac:graphicFrameMkLst>
        </pc:graphicFrameChg>
        <pc:cxnChg chg="add mod ord">
          <ac:chgData name="Nwokenna, Ola" userId="24fd04f5-1db1-4044-9d5a-a2564da48616" providerId="ADAL" clId="{069E6D5C-44E2-4543-A9E5-23AB25AAE2AA}" dt="2019-05-28T11:05:27.547" v="2892"/>
          <ac:cxnSpMkLst>
            <pc:docMk/>
            <pc:sldMk cId="1681331638" sldId="634"/>
            <ac:cxnSpMk id="20" creationId="{A42FAC8D-DDBA-429F-BA48-D9877459A8D9}"/>
          </ac:cxnSpMkLst>
        </pc:cxnChg>
      </pc:sldChg>
      <pc:sldChg chg="addSp delSp modSp add">
        <pc:chgData name="Nwokenna, Ola" userId="24fd04f5-1db1-4044-9d5a-a2564da48616" providerId="ADAL" clId="{069E6D5C-44E2-4543-A9E5-23AB25AAE2AA}" dt="2019-05-28T12:53:46.518" v="50167"/>
        <pc:sldMkLst>
          <pc:docMk/>
          <pc:sldMk cId="3860563111" sldId="635"/>
        </pc:sldMkLst>
        <pc:spChg chg="mod ord">
          <ac:chgData name="Nwokenna, Ola" userId="24fd04f5-1db1-4044-9d5a-a2564da48616" providerId="ADAL" clId="{069E6D5C-44E2-4543-A9E5-23AB25AAE2AA}" dt="2019-05-28T12:53:45.942" v="50153" actId="20577"/>
          <ac:spMkLst>
            <pc:docMk/>
            <pc:sldMk cId="3860563111" sldId="635"/>
            <ac:spMk id="2" creationId="{B6CE8D59-B86C-4554-8B9C-172C5BB4CB8E}"/>
          </ac:spMkLst>
        </pc:spChg>
        <pc:spChg chg="del mod ord">
          <ac:chgData name="Nwokenna, Ola" userId="24fd04f5-1db1-4044-9d5a-a2564da48616" providerId="ADAL" clId="{069E6D5C-44E2-4543-A9E5-23AB25AAE2AA}" dt="2019-05-28T11:33:24.023" v="25991" actId="478"/>
          <ac:spMkLst>
            <pc:docMk/>
            <pc:sldMk cId="3860563111" sldId="635"/>
            <ac:spMk id="3" creationId="{0B25B079-E44A-4A36-BD6B-0D2A59C0D5B5}"/>
          </ac:spMkLst>
        </pc:spChg>
        <pc:spChg chg="mod ord">
          <ac:chgData name="Nwokenna, Ola" userId="24fd04f5-1db1-4044-9d5a-a2564da48616" providerId="ADAL" clId="{069E6D5C-44E2-4543-A9E5-23AB25AAE2AA}" dt="2019-05-28T12:33:09.738" v="41004"/>
          <ac:spMkLst>
            <pc:docMk/>
            <pc:sldMk cId="3860563111" sldId="635"/>
            <ac:spMk id="4" creationId="{3F9679BF-B8B2-4AD0-BACC-730CF84F6CB4}"/>
          </ac:spMkLst>
        </pc:spChg>
        <pc:spChg chg="mod ord">
          <ac:chgData name="Nwokenna, Ola" userId="24fd04f5-1db1-4044-9d5a-a2564da48616" providerId="ADAL" clId="{069E6D5C-44E2-4543-A9E5-23AB25AAE2AA}" dt="2019-05-28T12:33:09.741" v="41006"/>
          <ac:spMkLst>
            <pc:docMk/>
            <pc:sldMk cId="3860563111" sldId="635"/>
            <ac:spMk id="5" creationId="{15170D06-AC54-4EFE-AEEC-3CCDAB63964B}"/>
          </ac:spMkLst>
        </pc:spChg>
        <pc:spChg chg="add mod ord">
          <ac:chgData name="Nwokenna, Ola" userId="24fd04f5-1db1-4044-9d5a-a2564da48616" providerId="ADAL" clId="{069E6D5C-44E2-4543-A9E5-23AB25AAE2AA}" dt="2019-05-28T12:53:46.497" v="50165" actId="6549"/>
          <ac:spMkLst>
            <pc:docMk/>
            <pc:sldMk cId="3860563111" sldId="635"/>
            <ac:spMk id="6" creationId="{491D81BF-A4FD-4578-BEB2-5A4E5AD5B6AE}"/>
          </ac:spMkLst>
        </pc:spChg>
        <pc:spChg chg="add mod ord">
          <ac:chgData name="Nwokenna, Ola" userId="24fd04f5-1db1-4044-9d5a-a2564da48616" providerId="ADAL" clId="{069E6D5C-44E2-4543-A9E5-23AB25AAE2AA}" dt="2019-05-28T12:33:09.756" v="41021"/>
          <ac:spMkLst>
            <pc:docMk/>
            <pc:sldMk cId="3860563111" sldId="635"/>
            <ac:spMk id="9" creationId="{CBCA9AA9-2195-43B8-A7AC-C3F4321B17BB}"/>
          </ac:spMkLst>
        </pc:spChg>
        <pc:spChg chg="add mod ord">
          <ac:chgData name="Nwokenna, Ola" userId="24fd04f5-1db1-4044-9d5a-a2564da48616" providerId="ADAL" clId="{069E6D5C-44E2-4543-A9E5-23AB25AAE2AA}" dt="2019-05-28T12:33:09.758" v="41023"/>
          <ac:spMkLst>
            <pc:docMk/>
            <pc:sldMk cId="3860563111" sldId="635"/>
            <ac:spMk id="10" creationId="{E711BEC4-8328-4AD2-BFDC-0E86DE390272}"/>
          </ac:spMkLst>
        </pc:spChg>
        <pc:spChg chg="add mod ord">
          <ac:chgData name="Nwokenna, Ola" userId="24fd04f5-1db1-4044-9d5a-a2564da48616" providerId="ADAL" clId="{069E6D5C-44E2-4543-A9E5-23AB25AAE2AA}" dt="2019-05-28T12:33:09.760" v="41025"/>
          <ac:spMkLst>
            <pc:docMk/>
            <pc:sldMk cId="3860563111" sldId="635"/>
            <ac:spMk id="11" creationId="{C8E75058-1CDA-4D4C-B53A-B248B87ED621}"/>
          </ac:spMkLst>
        </pc:spChg>
        <pc:spChg chg="add del mod ord">
          <ac:chgData name="Nwokenna, Ola" userId="24fd04f5-1db1-4044-9d5a-a2564da48616" providerId="ADAL" clId="{069E6D5C-44E2-4543-A9E5-23AB25AAE2AA}" dt="2019-05-28T11:36:07.825" v="28961"/>
          <ac:spMkLst>
            <pc:docMk/>
            <pc:sldMk cId="3860563111" sldId="635"/>
            <ac:spMk id="12" creationId="{E94BB1D3-AFC8-4AD4-B2DF-7C678480C6DB}"/>
          </ac:spMkLst>
        </pc:spChg>
        <pc:spChg chg="add del mod ord">
          <ac:chgData name="Nwokenna, Ola" userId="24fd04f5-1db1-4044-9d5a-a2564da48616" providerId="ADAL" clId="{069E6D5C-44E2-4543-A9E5-23AB25AAE2AA}" dt="2019-05-28T11:36:13.202" v="29187"/>
          <ac:spMkLst>
            <pc:docMk/>
            <pc:sldMk cId="3860563111" sldId="635"/>
            <ac:spMk id="13" creationId="{87C425A8-2B46-4485-AD4B-8EC8F71B5B7C}"/>
          </ac:spMkLst>
        </pc:spChg>
        <pc:spChg chg="add del mod ord">
          <ac:chgData name="Nwokenna, Ola" userId="24fd04f5-1db1-4044-9d5a-a2564da48616" providerId="ADAL" clId="{069E6D5C-44E2-4543-A9E5-23AB25AAE2AA}" dt="2019-05-28T11:36:20.442" v="29406"/>
          <ac:spMkLst>
            <pc:docMk/>
            <pc:sldMk cId="3860563111" sldId="635"/>
            <ac:spMk id="14" creationId="{EF75286B-E9A0-4F5F-A5BF-1B79B48D2F7A}"/>
          </ac:spMkLst>
        </pc:spChg>
        <pc:spChg chg="add mod ord">
          <ac:chgData name="Nwokenna, Ola" userId="24fd04f5-1db1-4044-9d5a-a2564da48616" providerId="ADAL" clId="{069E6D5C-44E2-4543-A9E5-23AB25AAE2AA}" dt="2019-05-28T12:33:09.766" v="41031"/>
          <ac:spMkLst>
            <pc:docMk/>
            <pc:sldMk cId="3860563111" sldId="635"/>
            <ac:spMk id="15" creationId="{4003867C-02C8-4092-8702-7F503B8A3192}"/>
          </ac:spMkLst>
        </pc:spChg>
        <pc:spChg chg="add mod ord">
          <ac:chgData name="Nwokenna, Ola" userId="24fd04f5-1db1-4044-9d5a-a2564da48616" providerId="ADAL" clId="{069E6D5C-44E2-4543-A9E5-23AB25AAE2AA}" dt="2019-05-28T12:33:09.764" v="41029"/>
          <ac:spMkLst>
            <pc:docMk/>
            <pc:sldMk cId="3860563111" sldId="635"/>
            <ac:spMk id="16" creationId="{D96A6560-1B7C-4A69-8B56-4116ADAA7F04}"/>
          </ac:spMkLst>
        </pc:spChg>
        <pc:spChg chg="add mod ord">
          <ac:chgData name="Nwokenna, Ola" userId="24fd04f5-1db1-4044-9d5a-a2564da48616" providerId="ADAL" clId="{069E6D5C-44E2-4543-A9E5-23AB25AAE2AA}" dt="2019-05-28T12:33:09.768" v="41033"/>
          <ac:spMkLst>
            <pc:docMk/>
            <pc:sldMk cId="3860563111" sldId="635"/>
            <ac:spMk id="17" creationId="{B99CE0BD-4516-4CFB-8C1F-76FE0099B57C}"/>
          </ac:spMkLst>
        </pc:spChg>
        <pc:spChg chg="add mod ord">
          <ac:chgData name="Nwokenna, Ola" userId="24fd04f5-1db1-4044-9d5a-a2564da48616" providerId="ADAL" clId="{069E6D5C-44E2-4543-A9E5-23AB25AAE2AA}" dt="2019-05-28T12:33:09.762" v="41027"/>
          <ac:spMkLst>
            <pc:docMk/>
            <pc:sldMk cId="3860563111" sldId="635"/>
            <ac:spMk id="18" creationId="{8972AECC-92CB-4D89-8568-C14D19B6CEE2}"/>
          </ac:spMkLst>
        </pc:spChg>
        <pc:spChg chg="add mod ord">
          <ac:chgData name="Nwokenna, Ola" userId="24fd04f5-1db1-4044-9d5a-a2564da48616" providerId="ADAL" clId="{069E6D5C-44E2-4543-A9E5-23AB25AAE2AA}" dt="2019-05-28T12:33:09.770" v="41035"/>
          <ac:spMkLst>
            <pc:docMk/>
            <pc:sldMk cId="3860563111" sldId="635"/>
            <ac:spMk id="19" creationId="{A5D63CD6-0463-4402-8DC0-95B42F4CD7A7}"/>
          </ac:spMkLst>
        </pc:spChg>
        <pc:spChg chg="add mod ord">
          <ac:chgData name="Nwokenna, Ola" userId="24fd04f5-1db1-4044-9d5a-a2564da48616" providerId="ADAL" clId="{069E6D5C-44E2-4543-A9E5-23AB25AAE2AA}" dt="2019-05-28T12:33:09.778" v="41043"/>
          <ac:spMkLst>
            <pc:docMk/>
            <pc:sldMk cId="3860563111" sldId="635"/>
            <ac:spMk id="20" creationId="{8597DD45-0DB9-49ED-897B-65D119F4F9D0}"/>
          </ac:spMkLst>
        </pc:spChg>
        <pc:spChg chg="add mod ord">
          <ac:chgData name="Nwokenna, Ola" userId="24fd04f5-1db1-4044-9d5a-a2564da48616" providerId="ADAL" clId="{069E6D5C-44E2-4543-A9E5-23AB25AAE2AA}" dt="2019-05-28T12:33:09.772" v="41037"/>
          <ac:spMkLst>
            <pc:docMk/>
            <pc:sldMk cId="3860563111" sldId="635"/>
            <ac:spMk id="21" creationId="{C96DDDD6-DB26-4775-886E-83D98A523CF7}"/>
          </ac:spMkLst>
        </pc:spChg>
        <pc:spChg chg="add mod ord">
          <ac:chgData name="Nwokenna, Ola" userId="24fd04f5-1db1-4044-9d5a-a2564da48616" providerId="ADAL" clId="{069E6D5C-44E2-4543-A9E5-23AB25AAE2AA}" dt="2019-05-28T12:33:09.774" v="41039"/>
          <ac:spMkLst>
            <pc:docMk/>
            <pc:sldMk cId="3860563111" sldId="635"/>
            <ac:spMk id="22" creationId="{7F0757C7-89F5-4264-A836-A3F1BA26DAC9}"/>
          </ac:spMkLst>
        </pc:spChg>
        <pc:spChg chg="add mod ord">
          <ac:chgData name="Nwokenna, Ola" userId="24fd04f5-1db1-4044-9d5a-a2564da48616" providerId="ADAL" clId="{069E6D5C-44E2-4543-A9E5-23AB25AAE2AA}" dt="2019-05-28T12:33:09.776" v="41041"/>
          <ac:spMkLst>
            <pc:docMk/>
            <pc:sldMk cId="3860563111" sldId="635"/>
            <ac:spMk id="23" creationId="{8E9F4D23-BD8E-4089-8300-C414D3F0B075}"/>
          </ac:spMkLst>
        </pc:spChg>
        <pc:spChg chg="add mod ord">
          <ac:chgData name="Nwokenna, Ola" userId="24fd04f5-1db1-4044-9d5a-a2564da48616" providerId="ADAL" clId="{069E6D5C-44E2-4543-A9E5-23AB25AAE2AA}" dt="2019-05-28T12:33:09.780" v="41045"/>
          <ac:spMkLst>
            <pc:docMk/>
            <pc:sldMk cId="3860563111" sldId="635"/>
            <ac:spMk id="24" creationId="{C38BBAA9-A891-437D-BA13-F05E2BA66746}"/>
          </ac:spMkLst>
        </pc:spChg>
        <pc:spChg chg="add mod ord">
          <ac:chgData name="Nwokenna, Ola" userId="24fd04f5-1db1-4044-9d5a-a2564da48616" providerId="ADAL" clId="{069E6D5C-44E2-4543-A9E5-23AB25AAE2AA}" dt="2019-05-28T12:33:09.783" v="41047"/>
          <ac:spMkLst>
            <pc:docMk/>
            <pc:sldMk cId="3860563111" sldId="635"/>
            <ac:spMk id="25" creationId="{5453313E-6A8E-484D-B032-336D1E156ED9}"/>
          </ac:spMkLst>
        </pc:spChg>
        <pc:spChg chg="add del mod ord">
          <ac:chgData name="Nwokenna, Ola" userId="24fd04f5-1db1-4044-9d5a-a2564da48616" providerId="ADAL" clId="{069E6D5C-44E2-4543-A9E5-23AB25AAE2AA}" dt="2019-05-28T11:35:18.661" v="28246" actId="478"/>
          <ac:spMkLst>
            <pc:docMk/>
            <pc:sldMk cId="3860563111" sldId="635"/>
            <ac:spMk id="26" creationId="{B0ED5254-03CC-415C-ACEC-87D3C4E5D8F9}"/>
          </ac:spMkLst>
        </pc:spChg>
        <pc:spChg chg="add del mod ord">
          <ac:chgData name="Nwokenna, Ola" userId="24fd04f5-1db1-4044-9d5a-a2564da48616" providerId="ADAL" clId="{069E6D5C-44E2-4543-A9E5-23AB25AAE2AA}" dt="2019-05-28T11:33:30.479" v="26351" actId="478"/>
          <ac:spMkLst>
            <pc:docMk/>
            <pc:sldMk cId="3860563111" sldId="635"/>
            <ac:spMk id="27" creationId="{7B0CAE41-53B8-4D3B-AD3B-D868B0550C53}"/>
          </ac:spMkLst>
        </pc:spChg>
        <pc:spChg chg="add mod ord">
          <ac:chgData name="Nwokenna, Ola" userId="24fd04f5-1db1-4044-9d5a-a2564da48616" providerId="ADAL" clId="{069E6D5C-44E2-4543-A9E5-23AB25AAE2AA}" dt="2019-05-28T12:33:09.784" v="41049"/>
          <ac:spMkLst>
            <pc:docMk/>
            <pc:sldMk cId="3860563111" sldId="635"/>
            <ac:spMk id="28" creationId="{4230119B-040E-4B7D-963A-2429B82A3DBB}"/>
          </ac:spMkLst>
        </pc:spChg>
        <pc:spChg chg="add mod ord">
          <ac:chgData name="Nwokenna, Ola" userId="24fd04f5-1db1-4044-9d5a-a2564da48616" providerId="ADAL" clId="{069E6D5C-44E2-4543-A9E5-23AB25AAE2AA}" dt="2019-05-28T12:33:09.786" v="41051"/>
          <ac:spMkLst>
            <pc:docMk/>
            <pc:sldMk cId="3860563111" sldId="635"/>
            <ac:spMk id="29" creationId="{470515CD-6E22-40DF-AB25-08FE089EA1F2}"/>
          </ac:spMkLst>
        </pc:spChg>
        <pc:spChg chg="add mod ord">
          <ac:chgData name="Nwokenna, Ola" userId="24fd04f5-1db1-4044-9d5a-a2564da48616" providerId="ADAL" clId="{069E6D5C-44E2-4543-A9E5-23AB25AAE2AA}" dt="2019-05-28T12:33:09.790" v="41053"/>
          <ac:spMkLst>
            <pc:docMk/>
            <pc:sldMk cId="3860563111" sldId="635"/>
            <ac:spMk id="30" creationId="{E469084B-94CE-4DFE-882A-FB82AE5ABCDE}"/>
          </ac:spMkLst>
        </pc:spChg>
        <pc:spChg chg="add del mod ord">
          <ac:chgData name="Nwokenna, Ola" userId="24fd04f5-1db1-4044-9d5a-a2564da48616" providerId="ADAL" clId="{069E6D5C-44E2-4543-A9E5-23AB25AAE2AA}" dt="2019-05-28T11:34:42.018" v="27973"/>
          <ac:spMkLst>
            <pc:docMk/>
            <pc:sldMk cId="3860563111" sldId="635"/>
            <ac:spMk id="35" creationId="{CFBE73E4-4796-4E78-834E-A938021DA739}"/>
          </ac:spMkLst>
        </pc:spChg>
        <pc:spChg chg="add del mod ord">
          <ac:chgData name="Nwokenna, Ola" userId="24fd04f5-1db1-4044-9d5a-a2564da48616" providerId="ADAL" clId="{069E6D5C-44E2-4543-A9E5-23AB25AAE2AA}" dt="2019-05-28T11:34:42.023" v="27977"/>
          <ac:spMkLst>
            <pc:docMk/>
            <pc:sldMk cId="3860563111" sldId="635"/>
            <ac:spMk id="36" creationId="{749DF950-045C-44D7-91B1-B857115E2299}"/>
          </ac:spMkLst>
        </pc:spChg>
        <pc:spChg chg="add del mod ord">
          <ac:chgData name="Nwokenna, Ola" userId="24fd04f5-1db1-4044-9d5a-a2564da48616" providerId="ADAL" clId="{069E6D5C-44E2-4543-A9E5-23AB25AAE2AA}" dt="2019-05-28T11:34:42.028" v="27981"/>
          <ac:spMkLst>
            <pc:docMk/>
            <pc:sldMk cId="3860563111" sldId="635"/>
            <ac:spMk id="37" creationId="{C68B7C03-0EA2-4205-ACC6-3E3E5D882305}"/>
          </ac:spMkLst>
        </pc:spChg>
        <pc:spChg chg="add del mod ord">
          <ac:chgData name="Nwokenna, Ola" userId="24fd04f5-1db1-4044-9d5a-a2564da48616" providerId="ADAL" clId="{069E6D5C-44E2-4543-A9E5-23AB25AAE2AA}" dt="2019-05-28T11:34:42.032" v="27985"/>
          <ac:spMkLst>
            <pc:docMk/>
            <pc:sldMk cId="3860563111" sldId="635"/>
            <ac:spMk id="38" creationId="{D8D7A2AE-2B78-4D87-B22F-9FCB226F52A1}"/>
          </ac:spMkLst>
        </pc:spChg>
        <pc:spChg chg="add del mod ord">
          <ac:chgData name="Nwokenna, Ola" userId="24fd04f5-1db1-4044-9d5a-a2564da48616" providerId="ADAL" clId="{069E6D5C-44E2-4543-A9E5-23AB25AAE2AA}" dt="2019-05-28T11:34:42.035" v="27989"/>
          <ac:spMkLst>
            <pc:docMk/>
            <pc:sldMk cId="3860563111" sldId="635"/>
            <ac:spMk id="39" creationId="{ECA7B9D2-2FDE-4F7C-88F6-A31D9244A459}"/>
          </ac:spMkLst>
        </pc:spChg>
        <pc:spChg chg="add del mod ord">
          <ac:chgData name="Nwokenna, Ola" userId="24fd04f5-1db1-4044-9d5a-a2564da48616" providerId="ADAL" clId="{069E6D5C-44E2-4543-A9E5-23AB25AAE2AA}" dt="2019-05-28T11:34:42.042" v="27993"/>
          <ac:spMkLst>
            <pc:docMk/>
            <pc:sldMk cId="3860563111" sldId="635"/>
            <ac:spMk id="40" creationId="{6571B76E-C731-4270-8531-D1E7E9A08295}"/>
          </ac:spMkLst>
        </pc:spChg>
        <pc:spChg chg="add del mod ord">
          <ac:chgData name="Nwokenna, Ola" userId="24fd04f5-1db1-4044-9d5a-a2564da48616" providerId="ADAL" clId="{069E6D5C-44E2-4543-A9E5-23AB25AAE2AA}" dt="2019-05-28T11:34:42.045" v="27997"/>
          <ac:spMkLst>
            <pc:docMk/>
            <pc:sldMk cId="3860563111" sldId="635"/>
            <ac:spMk id="41" creationId="{C25F8BDB-C646-45C5-8BFB-96ADF6E6C93C}"/>
          </ac:spMkLst>
        </pc:spChg>
        <pc:spChg chg="add del mod ord">
          <ac:chgData name="Nwokenna, Ola" userId="24fd04f5-1db1-4044-9d5a-a2564da48616" providerId="ADAL" clId="{069E6D5C-44E2-4543-A9E5-23AB25AAE2AA}" dt="2019-05-28T11:34:39.834" v="27758"/>
          <ac:spMkLst>
            <pc:docMk/>
            <pc:sldMk cId="3860563111" sldId="635"/>
            <ac:spMk id="42" creationId="{173F6EE6-E975-44A1-AFC4-0B87E93F0321}"/>
          </ac:spMkLst>
        </pc:spChg>
        <pc:spChg chg="add del mod ord">
          <ac:chgData name="Nwokenna, Ola" userId="24fd04f5-1db1-4044-9d5a-a2564da48616" providerId="ADAL" clId="{069E6D5C-44E2-4543-A9E5-23AB25AAE2AA}" dt="2019-05-28T11:34:42.047" v="27999"/>
          <ac:spMkLst>
            <pc:docMk/>
            <pc:sldMk cId="3860563111" sldId="635"/>
            <ac:spMk id="43" creationId="{432F54B8-E851-4AD0-800B-025AED800A2A}"/>
          </ac:spMkLst>
        </pc:spChg>
        <pc:spChg chg="add del mod ord">
          <ac:chgData name="Nwokenna, Ola" userId="24fd04f5-1db1-4044-9d5a-a2564da48616" providerId="ADAL" clId="{069E6D5C-44E2-4543-A9E5-23AB25AAE2AA}" dt="2019-05-28T11:34:39.836" v="27760"/>
          <ac:spMkLst>
            <pc:docMk/>
            <pc:sldMk cId="3860563111" sldId="635"/>
            <ac:spMk id="44" creationId="{4D95FDC7-D369-4454-963B-49ABCF28B9A4}"/>
          </ac:spMkLst>
        </pc:spChg>
        <pc:spChg chg="add del mod ord">
          <ac:chgData name="Nwokenna, Ola" userId="24fd04f5-1db1-4044-9d5a-a2564da48616" providerId="ADAL" clId="{069E6D5C-44E2-4543-A9E5-23AB25AAE2AA}" dt="2019-05-28T11:34:42.049" v="28001"/>
          <ac:spMkLst>
            <pc:docMk/>
            <pc:sldMk cId="3860563111" sldId="635"/>
            <ac:spMk id="45" creationId="{35D0E8B6-6856-4EBF-8BD5-E4BB5C9B3F0C}"/>
          </ac:spMkLst>
        </pc:spChg>
        <pc:spChg chg="add del mod ord">
          <ac:chgData name="Nwokenna, Ola" userId="24fd04f5-1db1-4044-9d5a-a2564da48616" providerId="ADAL" clId="{069E6D5C-44E2-4543-A9E5-23AB25AAE2AA}" dt="2019-05-28T11:34:42.050" v="28003"/>
          <ac:spMkLst>
            <pc:docMk/>
            <pc:sldMk cId="3860563111" sldId="635"/>
            <ac:spMk id="46" creationId="{1C1EE6C2-759C-4E8E-8C0A-641DA700C281}"/>
          </ac:spMkLst>
        </pc:spChg>
        <pc:spChg chg="add del mod ord">
          <ac:chgData name="Nwokenna, Ola" userId="24fd04f5-1db1-4044-9d5a-a2564da48616" providerId="ADAL" clId="{069E6D5C-44E2-4543-A9E5-23AB25AAE2AA}" dt="2019-05-28T11:34:42.016" v="27971"/>
          <ac:spMkLst>
            <pc:docMk/>
            <pc:sldMk cId="3860563111" sldId="635"/>
            <ac:spMk id="48" creationId="{01256066-B7DF-49FD-A08E-2C20C377C06B}"/>
          </ac:spMkLst>
        </pc:spChg>
        <pc:spChg chg="add del mod ord">
          <ac:chgData name="Nwokenna, Ola" userId="24fd04f5-1db1-4044-9d5a-a2564da48616" providerId="ADAL" clId="{069E6D5C-44E2-4543-A9E5-23AB25AAE2AA}" dt="2019-05-28T11:34:42.019" v="27975"/>
          <ac:spMkLst>
            <pc:docMk/>
            <pc:sldMk cId="3860563111" sldId="635"/>
            <ac:spMk id="49" creationId="{A5DEFEB5-7B4A-4674-89DC-B41FA491DBA7}"/>
          </ac:spMkLst>
        </pc:spChg>
        <pc:spChg chg="add del mod ord">
          <ac:chgData name="Nwokenna, Ola" userId="24fd04f5-1db1-4044-9d5a-a2564da48616" providerId="ADAL" clId="{069E6D5C-44E2-4543-A9E5-23AB25AAE2AA}" dt="2019-05-28T11:34:42.027" v="27979"/>
          <ac:spMkLst>
            <pc:docMk/>
            <pc:sldMk cId="3860563111" sldId="635"/>
            <ac:spMk id="50" creationId="{4EEF8B6D-CF4A-497B-B65D-221CBFDC263D}"/>
          </ac:spMkLst>
        </pc:spChg>
        <pc:spChg chg="add del mod ord">
          <ac:chgData name="Nwokenna, Ola" userId="24fd04f5-1db1-4044-9d5a-a2564da48616" providerId="ADAL" clId="{069E6D5C-44E2-4543-A9E5-23AB25AAE2AA}" dt="2019-05-28T11:34:42.030" v="27983"/>
          <ac:spMkLst>
            <pc:docMk/>
            <pc:sldMk cId="3860563111" sldId="635"/>
            <ac:spMk id="51" creationId="{5EEE6A35-C1B0-4195-BC2F-769F519589DE}"/>
          </ac:spMkLst>
        </pc:spChg>
        <pc:spChg chg="add del mod ord">
          <ac:chgData name="Nwokenna, Ola" userId="24fd04f5-1db1-4044-9d5a-a2564da48616" providerId="ADAL" clId="{069E6D5C-44E2-4543-A9E5-23AB25AAE2AA}" dt="2019-05-28T11:34:42.033" v="27987"/>
          <ac:spMkLst>
            <pc:docMk/>
            <pc:sldMk cId="3860563111" sldId="635"/>
            <ac:spMk id="52" creationId="{EF2FBFC7-336F-410E-BA42-1FCF88E22D1C}"/>
          </ac:spMkLst>
        </pc:spChg>
        <pc:spChg chg="add del mod ord">
          <ac:chgData name="Nwokenna, Ola" userId="24fd04f5-1db1-4044-9d5a-a2564da48616" providerId="ADAL" clId="{069E6D5C-44E2-4543-A9E5-23AB25AAE2AA}" dt="2019-05-28T11:34:42.037" v="27991"/>
          <ac:spMkLst>
            <pc:docMk/>
            <pc:sldMk cId="3860563111" sldId="635"/>
            <ac:spMk id="53" creationId="{582D1CBC-E291-49A9-92AC-F061A5F1FA8F}"/>
          </ac:spMkLst>
        </pc:spChg>
        <pc:spChg chg="add del mod ord">
          <ac:chgData name="Nwokenna, Ola" userId="24fd04f5-1db1-4044-9d5a-a2564da48616" providerId="ADAL" clId="{069E6D5C-44E2-4543-A9E5-23AB25AAE2AA}" dt="2019-05-28T11:34:42.043" v="27995"/>
          <ac:spMkLst>
            <pc:docMk/>
            <pc:sldMk cId="3860563111" sldId="635"/>
            <ac:spMk id="54" creationId="{FB81E5CD-C13A-4A05-8C02-176090C16C7B}"/>
          </ac:spMkLst>
        </pc:spChg>
        <pc:spChg chg="add del mod ord">
          <ac:chgData name="Nwokenna, Ola" userId="24fd04f5-1db1-4044-9d5a-a2564da48616" providerId="ADAL" clId="{069E6D5C-44E2-4543-A9E5-23AB25AAE2AA}" dt="2019-05-28T11:36:04.893" v="28804"/>
          <ac:spMkLst>
            <pc:docMk/>
            <pc:sldMk cId="3860563111" sldId="635"/>
            <ac:spMk id="57" creationId="{85CF8758-E0B2-4327-A57A-590B03F41B8F}"/>
          </ac:spMkLst>
        </pc:spChg>
        <pc:spChg chg="add del mod ord">
          <ac:chgData name="Nwokenna, Ola" userId="24fd04f5-1db1-4044-9d5a-a2564da48616" providerId="ADAL" clId="{069E6D5C-44E2-4543-A9E5-23AB25AAE2AA}" dt="2019-05-28T11:36:16.424" v="29261"/>
          <ac:spMkLst>
            <pc:docMk/>
            <pc:sldMk cId="3860563111" sldId="635"/>
            <ac:spMk id="59" creationId="{BDC2B889-02CC-41AB-B896-CA5C28E9E86B}"/>
          </ac:spMkLst>
        </pc:spChg>
        <pc:spChg chg="add mod ord">
          <ac:chgData name="Nwokenna, Ola" userId="24fd04f5-1db1-4044-9d5a-a2564da48616" providerId="ADAL" clId="{069E6D5C-44E2-4543-A9E5-23AB25AAE2AA}" dt="2019-05-28T12:33:09.745" v="41009"/>
          <ac:spMkLst>
            <pc:docMk/>
            <pc:sldMk cId="3860563111" sldId="635"/>
            <ac:spMk id="75" creationId="{E143D642-0093-453F-A81B-F2A066FBE311}"/>
          </ac:spMkLst>
        </pc:spChg>
        <pc:spChg chg="add mod ord">
          <ac:chgData name="Nwokenna, Ola" userId="24fd04f5-1db1-4044-9d5a-a2564da48616" providerId="ADAL" clId="{069E6D5C-44E2-4543-A9E5-23AB25AAE2AA}" dt="2019-05-28T12:33:09.748" v="41011"/>
          <ac:spMkLst>
            <pc:docMk/>
            <pc:sldMk cId="3860563111" sldId="635"/>
            <ac:spMk id="76" creationId="{EC9DFFE5-9604-444A-A97E-5F11BBE999B1}"/>
          </ac:spMkLst>
        </pc:spChg>
        <pc:spChg chg="add mod ord">
          <ac:chgData name="Nwokenna, Ola" userId="24fd04f5-1db1-4044-9d5a-a2564da48616" providerId="ADAL" clId="{069E6D5C-44E2-4543-A9E5-23AB25AAE2AA}" dt="2019-05-28T12:33:09.749" v="41013"/>
          <ac:spMkLst>
            <pc:docMk/>
            <pc:sldMk cId="3860563111" sldId="635"/>
            <ac:spMk id="77" creationId="{28FFBCE4-7B18-4242-8890-67A808093BFD}"/>
          </ac:spMkLst>
        </pc:spChg>
        <pc:spChg chg="add mod ord">
          <ac:chgData name="Nwokenna, Ola" userId="24fd04f5-1db1-4044-9d5a-a2564da48616" providerId="ADAL" clId="{069E6D5C-44E2-4543-A9E5-23AB25AAE2AA}" dt="2019-05-28T12:33:09.751" v="41015"/>
          <ac:spMkLst>
            <pc:docMk/>
            <pc:sldMk cId="3860563111" sldId="635"/>
            <ac:spMk id="78" creationId="{1097B65D-31A7-48B6-899A-8C9344B7EEEB}"/>
          </ac:spMkLst>
        </pc:spChg>
        <pc:spChg chg="add mod ord">
          <ac:chgData name="Nwokenna, Ola" userId="24fd04f5-1db1-4044-9d5a-a2564da48616" providerId="ADAL" clId="{069E6D5C-44E2-4543-A9E5-23AB25AAE2AA}" dt="2019-05-28T12:33:09.753" v="41017"/>
          <ac:spMkLst>
            <pc:docMk/>
            <pc:sldMk cId="3860563111" sldId="635"/>
            <ac:spMk id="79" creationId="{46F10BBF-1CDD-4489-A2DD-765DF088859C}"/>
          </ac:spMkLst>
        </pc:spChg>
        <pc:spChg chg="add mod ord">
          <ac:chgData name="Nwokenna, Ola" userId="24fd04f5-1db1-4044-9d5a-a2564da48616" providerId="ADAL" clId="{069E6D5C-44E2-4543-A9E5-23AB25AAE2AA}" dt="2019-05-28T12:33:09.755" v="41019"/>
          <ac:spMkLst>
            <pc:docMk/>
            <pc:sldMk cId="3860563111" sldId="635"/>
            <ac:spMk id="80" creationId="{41965F93-8F53-4C85-90EC-0B40D603F808}"/>
          </ac:spMkLst>
        </pc:spChg>
        <pc:spChg chg="add del mod ord">
          <ac:chgData name="Nwokenna, Ola" userId="24fd04f5-1db1-4044-9d5a-a2564da48616" providerId="ADAL" clId="{069E6D5C-44E2-4543-A9E5-23AB25AAE2AA}" dt="2019-05-28T12:33:09.598" v="40970"/>
          <ac:spMkLst>
            <pc:docMk/>
            <pc:sldMk cId="3860563111" sldId="635"/>
            <ac:spMk id="81" creationId="{ABDADE04-E35B-4162-998F-F5ED4DE54000}"/>
          </ac:spMkLst>
        </pc:spChg>
        <pc:graphicFrameChg chg="add mod ord">
          <ac:chgData name="Nwokenna, Ola" userId="24fd04f5-1db1-4044-9d5a-a2564da48616" providerId="ADAL" clId="{069E6D5C-44E2-4543-A9E5-23AB25AAE2AA}" dt="2019-05-28T12:53:46.518" v="50167"/>
          <ac:graphicFrameMkLst>
            <pc:docMk/>
            <pc:sldMk cId="3860563111" sldId="635"/>
            <ac:graphicFrameMk id="7" creationId="{1785E9E7-D3D3-4C36-9104-B4D74CDD6F87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1:33:26.439" v="26283"/>
          <ac:graphicFrameMkLst>
            <pc:docMk/>
            <pc:sldMk cId="3860563111" sldId="635"/>
            <ac:graphicFrameMk id="8" creationId="{982F84BB-9453-4A7E-892F-2E04BF8AB9B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05.510" v="26397"/>
          <ac:graphicFrameMkLst>
            <pc:docMk/>
            <pc:sldMk cId="3860563111" sldId="635"/>
            <ac:graphicFrameMk id="31" creationId="{F4994F89-39C6-4759-A2CD-FD713B9BCE0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19.081" v="26521"/>
          <ac:graphicFrameMkLst>
            <pc:docMk/>
            <pc:sldMk cId="3860563111" sldId="635"/>
            <ac:graphicFrameMk id="32" creationId="{82C643F1-BD8D-420B-8228-28E471464B7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21.200" v="26636"/>
          <ac:graphicFrameMkLst>
            <pc:docMk/>
            <pc:sldMk cId="3860563111" sldId="635"/>
            <ac:graphicFrameMk id="33" creationId="{678A8F6D-31F3-4D50-B92D-AC54CA73C76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31.158" v="27256"/>
          <ac:graphicFrameMkLst>
            <pc:docMk/>
            <pc:sldMk cId="3860563111" sldId="635"/>
            <ac:graphicFrameMk id="34" creationId="{157A206F-9FB0-43DE-AE9D-FD691FC70B9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31.826" v="27535"/>
          <ac:graphicFrameMkLst>
            <pc:docMk/>
            <pc:sldMk cId="3860563111" sldId="635"/>
            <ac:graphicFrameMk id="47" creationId="{7B502D95-F4B7-40CD-8866-FE29C580DEF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32.130" v="27648"/>
          <ac:graphicFrameMkLst>
            <pc:docMk/>
            <pc:sldMk cId="3860563111" sldId="635"/>
            <ac:graphicFrameMk id="55" creationId="{24E596C6-CA06-473C-BEA8-0E1312556D7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40.197" v="27860"/>
          <ac:graphicFrameMkLst>
            <pc:docMk/>
            <pc:sldMk cId="3860563111" sldId="635"/>
            <ac:graphicFrameMk id="56" creationId="{ABA44DED-336A-40A9-8540-F994A57A965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42.407" v="28128"/>
          <ac:graphicFrameMkLst>
            <pc:docMk/>
            <pc:sldMk cId="3860563111" sldId="635"/>
            <ac:graphicFrameMk id="58" creationId="{7D4D3898-C664-4EA5-A3C4-011567AD63E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5:20.741" v="28295"/>
          <ac:graphicFrameMkLst>
            <pc:docMk/>
            <pc:sldMk cId="3860563111" sldId="635"/>
            <ac:graphicFrameMk id="60" creationId="{1A183F73-6EFB-45CB-A098-DA4482A832F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5:59.328" v="28648"/>
          <ac:graphicFrameMkLst>
            <pc:docMk/>
            <pc:sldMk cId="3860563111" sldId="635"/>
            <ac:graphicFrameMk id="61" creationId="{6B0B2136-4668-4085-B4A3-ED67566D8DB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01.939" v="28725"/>
          <ac:graphicFrameMkLst>
            <pc:docMk/>
            <pc:sldMk cId="3860563111" sldId="635"/>
            <ac:graphicFrameMk id="62" creationId="{8D0B2AB8-6F1C-4364-8B2B-B449ADA06EB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04.910" v="28805"/>
          <ac:graphicFrameMkLst>
            <pc:docMk/>
            <pc:sldMk cId="3860563111" sldId="635"/>
            <ac:graphicFrameMk id="63" creationId="{5FD15A0C-6908-4B05-8B94-6D4896600F0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06.645" v="28885"/>
          <ac:graphicFrameMkLst>
            <pc:docMk/>
            <pc:sldMk cId="3860563111" sldId="635"/>
            <ac:graphicFrameMk id="64" creationId="{D8B45604-FC93-4CD9-89F1-FD8D0C16AA6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07.867" v="28962"/>
          <ac:graphicFrameMkLst>
            <pc:docMk/>
            <pc:sldMk cId="3860563111" sldId="635"/>
            <ac:graphicFrameMk id="65" creationId="{82833B3A-F586-4127-AD40-E7B8271FD70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10.334" v="29035"/>
          <ac:graphicFrameMkLst>
            <pc:docMk/>
            <pc:sldMk cId="3860563111" sldId="635"/>
            <ac:graphicFrameMk id="66" creationId="{CC876465-7D85-4B72-B690-02B44E9BB23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11.641" v="29113"/>
          <ac:graphicFrameMkLst>
            <pc:docMk/>
            <pc:sldMk cId="3860563111" sldId="635"/>
            <ac:graphicFrameMk id="67" creationId="{142E5B9F-F87B-4704-AD1D-A3BE4FA5E38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13.243" v="29188"/>
          <ac:graphicFrameMkLst>
            <pc:docMk/>
            <pc:sldMk cId="3860563111" sldId="635"/>
            <ac:graphicFrameMk id="68" creationId="{A4191058-AFA4-47CE-97CF-88EB3686338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16.445" v="29262"/>
          <ac:graphicFrameMkLst>
            <pc:docMk/>
            <pc:sldMk cId="3860563111" sldId="635"/>
            <ac:graphicFrameMk id="69" creationId="{95DA45B2-02B2-471D-B67E-4C4E7985998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19.447" v="29336"/>
          <ac:graphicFrameMkLst>
            <pc:docMk/>
            <pc:sldMk cId="3860563111" sldId="635"/>
            <ac:graphicFrameMk id="70" creationId="{5350C90F-41DA-4756-93B6-749A2CC8F54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20.476" v="29407"/>
          <ac:graphicFrameMkLst>
            <pc:docMk/>
            <pc:sldMk cId="3860563111" sldId="635"/>
            <ac:graphicFrameMk id="71" creationId="{BED37CA5-9288-4A70-AE65-E9F93EC4086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40.265" v="39520"/>
          <ac:graphicFrameMkLst>
            <pc:docMk/>
            <pc:sldMk cId="3860563111" sldId="635"/>
            <ac:graphicFrameMk id="72" creationId="{D556D12F-DD13-47B7-942A-58658B9C11C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42.104" v="39593"/>
          <ac:graphicFrameMkLst>
            <pc:docMk/>
            <pc:sldMk cId="3860563111" sldId="635"/>
            <ac:graphicFrameMk id="73" creationId="{090E701A-85CC-412A-93D7-0A3990CB094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05.273" v="40903"/>
          <ac:graphicFrameMkLst>
            <pc:docMk/>
            <pc:sldMk cId="3860563111" sldId="635"/>
            <ac:graphicFrameMk id="74" creationId="{A3B64EFB-47A8-4801-BF87-CD4613C8E7F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09.697" v="40993"/>
          <ac:graphicFrameMkLst>
            <pc:docMk/>
            <pc:sldMk cId="3860563111" sldId="635"/>
            <ac:graphicFrameMk id="82" creationId="{69B4F885-33A7-4FE0-AFC6-72E21AE7363C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33:09.743" v="41007"/>
          <ac:graphicFrameMkLst>
            <pc:docMk/>
            <pc:sldMk cId="3860563111" sldId="635"/>
            <ac:graphicFrameMk id="83" creationId="{377C3B4E-FB2D-4DEB-BDDC-DEAABC7CC973}"/>
          </ac:graphicFrameMkLst>
        </pc:graphicFrameChg>
      </pc:sldChg>
      <pc:sldChg chg="addSp delSp modSp add">
        <pc:chgData name="Nwokenna, Ola" userId="24fd04f5-1db1-4044-9d5a-a2564da48616" providerId="ADAL" clId="{069E6D5C-44E2-4543-A9E5-23AB25AAE2AA}" dt="2019-05-28T12:32:57.914" v="40396"/>
        <pc:sldMkLst>
          <pc:docMk/>
          <pc:sldMk cId="944128186" sldId="636"/>
        </pc:sldMkLst>
        <pc:spChg chg="mod ord">
          <ac:chgData name="Nwokenna, Ola" userId="24fd04f5-1db1-4044-9d5a-a2564da48616" providerId="ADAL" clId="{069E6D5C-44E2-4543-A9E5-23AB25AAE2AA}" dt="2019-05-28T12:32:57.859" v="40337"/>
          <ac:spMkLst>
            <pc:docMk/>
            <pc:sldMk cId="944128186" sldId="636"/>
            <ac:spMk id="2" creationId="{B6CE8D59-B86C-4554-8B9C-172C5BB4CB8E}"/>
          </ac:spMkLst>
        </pc:spChg>
        <pc:spChg chg="add del mod ord">
          <ac:chgData name="Nwokenna, Ola" userId="24fd04f5-1db1-4044-9d5a-a2564da48616" providerId="ADAL" clId="{069E6D5C-44E2-4543-A9E5-23AB25AAE2AA}" dt="2019-05-28T12:04:29.568" v="31535"/>
          <ac:spMkLst>
            <pc:docMk/>
            <pc:sldMk cId="944128186" sldId="636"/>
            <ac:spMk id="3" creationId="{AB0D2A52-6E8F-4DEB-A6B0-C3D9E2B959DD}"/>
          </ac:spMkLst>
        </pc:spChg>
        <pc:spChg chg="mod ord">
          <ac:chgData name="Nwokenna, Ola" userId="24fd04f5-1db1-4044-9d5a-a2564da48616" providerId="ADAL" clId="{069E6D5C-44E2-4543-A9E5-23AB25AAE2AA}" dt="2019-05-28T12:32:57.860" v="40339"/>
          <ac:spMkLst>
            <pc:docMk/>
            <pc:sldMk cId="944128186" sldId="636"/>
            <ac:spMk id="4" creationId="{3F9679BF-B8B2-4AD0-BACC-730CF84F6CB4}"/>
          </ac:spMkLst>
        </pc:spChg>
        <pc:spChg chg="mod ord">
          <ac:chgData name="Nwokenna, Ola" userId="24fd04f5-1db1-4044-9d5a-a2564da48616" providerId="ADAL" clId="{069E6D5C-44E2-4543-A9E5-23AB25AAE2AA}" dt="2019-05-28T12:32:57.861" v="40341"/>
          <ac:spMkLst>
            <pc:docMk/>
            <pc:sldMk cId="944128186" sldId="636"/>
            <ac:spMk id="5" creationId="{15170D06-AC54-4EFE-AEEC-3CCDAB63964B}"/>
          </ac:spMkLst>
        </pc:spChg>
        <pc:spChg chg="mod ord">
          <ac:chgData name="Nwokenna, Ola" userId="24fd04f5-1db1-4044-9d5a-a2564da48616" providerId="ADAL" clId="{069E6D5C-44E2-4543-A9E5-23AB25AAE2AA}" dt="2019-05-28T12:32:57.857" v="40335"/>
          <ac:spMkLst>
            <pc:docMk/>
            <pc:sldMk cId="944128186" sldId="636"/>
            <ac:spMk id="6" creationId="{491D81BF-A4FD-4578-BEB2-5A4E5AD5B6AE}"/>
          </ac:spMkLst>
        </pc:spChg>
        <pc:spChg chg="add del mod ord">
          <ac:chgData name="Nwokenna, Ola" userId="24fd04f5-1db1-4044-9d5a-a2564da48616" providerId="ADAL" clId="{069E6D5C-44E2-4543-A9E5-23AB25AAE2AA}" dt="2019-05-28T12:04:29.571" v="31539"/>
          <ac:spMkLst>
            <pc:docMk/>
            <pc:sldMk cId="944128186" sldId="636"/>
            <ac:spMk id="8" creationId="{1D52003B-B2AC-4612-BC23-E69F3D2703C5}"/>
          </ac:spMkLst>
        </pc:spChg>
        <pc:spChg chg="del mod ord">
          <ac:chgData name="Nwokenna, Ola" userId="24fd04f5-1db1-4044-9d5a-a2564da48616" providerId="ADAL" clId="{069E6D5C-44E2-4543-A9E5-23AB25AAE2AA}" dt="2019-05-28T12:06:03.527" v="35242"/>
          <ac:spMkLst>
            <pc:docMk/>
            <pc:sldMk cId="944128186" sldId="636"/>
            <ac:spMk id="9" creationId="{CBCA9AA9-2195-43B8-A7AC-C3F4321B17BB}"/>
          </ac:spMkLst>
        </pc:spChg>
        <pc:spChg chg="del mod ord">
          <ac:chgData name="Nwokenna, Ola" userId="24fd04f5-1db1-4044-9d5a-a2564da48616" providerId="ADAL" clId="{069E6D5C-44E2-4543-A9E5-23AB25AAE2AA}" dt="2019-05-28T12:06:03.520" v="35236"/>
          <ac:spMkLst>
            <pc:docMk/>
            <pc:sldMk cId="944128186" sldId="636"/>
            <ac:spMk id="10" creationId="{E711BEC4-8328-4AD2-BFDC-0E86DE390272}"/>
          </ac:spMkLst>
        </pc:spChg>
        <pc:spChg chg="del mod ord">
          <ac:chgData name="Nwokenna, Ola" userId="24fd04f5-1db1-4044-9d5a-a2564da48616" providerId="ADAL" clId="{069E6D5C-44E2-4543-A9E5-23AB25AAE2AA}" dt="2019-05-28T12:06:03.514" v="35230"/>
          <ac:spMkLst>
            <pc:docMk/>
            <pc:sldMk cId="944128186" sldId="636"/>
            <ac:spMk id="11" creationId="{C8E75058-1CDA-4D4C-B53A-B248B87ED621}"/>
          </ac:spMkLst>
        </pc:spChg>
        <pc:spChg chg="add del mod ord">
          <ac:chgData name="Nwokenna, Ola" userId="24fd04f5-1db1-4044-9d5a-a2564da48616" providerId="ADAL" clId="{069E6D5C-44E2-4543-A9E5-23AB25AAE2AA}" dt="2019-05-28T12:04:29.574" v="31543"/>
          <ac:spMkLst>
            <pc:docMk/>
            <pc:sldMk cId="944128186" sldId="636"/>
            <ac:spMk id="12" creationId="{9AD0552F-08E5-47B6-B911-56B6EDABD972}"/>
          </ac:spMkLst>
        </pc:spChg>
        <pc:spChg chg="add del mod ord">
          <ac:chgData name="Nwokenna, Ola" userId="24fd04f5-1db1-4044-9d5a-a2564da48616" providerId="ADAL" clId="{069E6D5C-44E2-4543-A9E5-23AB25AAE2AA}" dt="2019-05-28T12:04:29.580" v="31547"/>
          <ac:spMkLst>
            <pc:docMk/>
            <pc:sldMk cId="944128186" sldId="636"/>
            <ac:spMk id="13" creationId="{CBE27C48-E409-4B98-811B-0E22909DD426}"/>
          </ac:spMkLst>
        </pc:spChg>
        <pc:spChg chg="add del mod ord">
          <ac:chgData name="Nwokenna, Ola" userId="24fd04f5-1db1-4044-9d5a-a2564da48616" providerId="ADAL" clId="{069E6D5C-44E2-4543-A9E5-23AB25AAE2AA}" dt="2019-05-28T12:04:29.585" v="31551"/>
          <ac:spMkLst>
            <pc:docMk/>
            <pc:sldMk cId="944128186" sldId="636"/>
            <ac:spMk id="14" creationId="{5ACF57D4-20AD-4A12-BB7F-9D186D9D635C}"/>
          </ac:spMkLst>
        </pc:spChg>
        <pc:spChg chg="del mod ord">
          <ac:chgData name="Nwokenna, Ola" userId="24fd04f5-1db1-4044-9d5a-a2564da48616" providerId="ADAL" clId="{069E6D5C-44E2-4543-A9E5-23AB25AAE2AA}" dt="2019-05-28T12:04:25.670" v="30110"/>
          <ac:spMkLst>
            <pc:docMk/>
            <pc:sldMk cId="944128186" sldId="636"/>
            <ac:spMk id="15" creationId="{4003867C-02C8-4092-8702-7F503B8A3192}"/>
          </ac:spMkLst>
        </pc:spChg>
        <pc:spChg chg="del mod ord">
          <ac:chgData name="Nwokenna, Ola" userId="24fd04f5-1db1-4044-9d5a-a2564da48616" providerId="ADAL" clId="{069E6D5C-44E2-4543-A9E5-23AB25AAE2AA}" dt="2019-05-28T12:04:25.650" v="30106"/>
          <ac:spMkLst>
            <pc:docMk/>
            <pc:sldMk cId="944128186" sldId="636"/>
            <ac:spMk id="16" creationId="{D96A6560-1B7C-4A69-8B56-4116ADAA7F04}"/>
          </ac:spMkLst>
        </pc:spChg>
        <pc:spChg chg="del mod ord">
          <ac:chgData name="Nwokenna, Ola" userId="24fd04f5-1db1-4044-9d5a-a2564da48616" providerId="ADAL" clId="{069E6D5C-44E2-4543-A9E5-23AB25AAE2AA}" dt="2019-05-28T12:04:25.675" v="30114"/>
          <ac:spMkLst>
            <pc:docMk/>
            <pc:sldMk cId="944128186" sldId="636"/>
            <ac:spMk id="17" creationId="{B99CE0BD-4516-4CFB-8C1F-76FE0099B57C}"/>
          </ac:spMkLst>
        </pc:spChg>
        <pc:spChg chg="del mod ord">
          <ac:chgData name="Nwokenna, Ola" userId="24fd04f5-1db1-4044-9d5a-a2564da48616" providerId="ADAL" clId="{069E6D5C-44E2-4543-A9E5-23AB25AAE2AA}" dt="2019-05-28T12:04:25.679" v="30118"/>
          <ac:spMkLst>
            <pc:docMk/>
            <pc:sldMk cId="944128186" sldId="636"/>
            <ac:spMk id="18" creationId="{8972AECC-92CB-4D89-8568-C14D19B6CEE2}"/>
          </ac:spMkLst>
        </pc:spChg>
        <pc:spChg chg="del mod ord">
          <ac:chgData name="Nwokenna, Ola" userId="24fd04f5-1db1-4044-9d5a-a2564da48616" providerId="ADAL" clId="{069E6D5C-44E2-4543-A9E5-23AB25AAE2AA}" dt="2019-05-28T12:04:25.682" v="30122"/>
          <ac:spMkLst>
            <pc:docMk/>
            <pc:sldMk cId="944128186" sldId="636"/>
            <ac:spMk id="19" creationId="{A5D63CD6-0463-4402-8DC0-95B42F4CD7A7}"/>
          </ac:spMkLst>
        </pc:spChg>
        <pc:spChg chg="del mod ord">
          <ac:chgData name="Nwokenna, Ola" userId="24fd04f5-1db1-4044-9d5a-a2564da48616" providerId="ADAL" clId="{069E6D5C-44E2-4543-A9E5-23AB25AAE2AA}" dt="2019-05-28T12:04:25.684" v="30124"/>
          <ac:spMkLst>
            <pc:docMk/>
            <pc:sldMk cId="944128186" sldId="636"/>
            <ac:spMk id="20" creationId="{8597DD45-0DB9-49ED-897B-65D119F4F9D0}"/>
          </ac:spMkLst>
        </pc:spChg>
        <pc:spChg chg="del mod ord">
          <ac:chgData name="Nwokenna, Ola" userId="24fd04f5-1db1-4044-9d5a-a2564da48616" providerId="ADAL" clId="{069E6D5C-44E2-4543-A9E5-23AB25AAE2AA}" dt="2019-05-28T12:04:25.666" v="30108"/>
          <ac:spMkLst>
            <pc:docMk/>
            <pc:sldMk cId="944128186" sldId="636"/>
            <ac:spMk id="21" creationId="{C96DDDD6-DB26-4775-886E-83D98A523CF7}"/>
          </ac:spMkLst>
        </pc:spChg>
        <pc:spChg chg="del mod ord">
          <ac:chgData name="Nwokenna, Ola" userId="24fd04f5-1db1-4044-9d5a-a2564da48616" providerId="ADAL" clId="{069E6D5C-44E2-4543-A9E5-23AB25AAE2AA}" dt="2019-05-28T12:04:25.672" v="30112"/>
          <ac:spMkLst>
            <pc:docMk/>
            <pc:sldMk cId="944128186" sldId="636"/>
            <ac:spMk id="22" creationId="{7F0757C7-89F5-4264-A836-A3F1BA26DAC9}"/>
          </ac:spMkLst>
        </pc:spChg>
        <pc:spChg chg="del mod ord">
          <ac:chgData name="Nwokenna, Ola" userId="24fd04f5-1db1-4044-9d5a-a2564da48616" providerId="ADAL" clId="{069E6D5C-44E2-4543-A9E5-23AB25AAE2AA}" dt="2019-05-28T12:04:25.677" v="30116"/>
          <ac:spMkLst>
            <pc:docMk/>
            <pc:sldMk cId="944128186" sldId="636"/>
            <ac:spMk id="23" creationId="{8E9F4D23-BD8E-4089-8300-C414D3F0B075}"/>
          </ac:spMkLst>
        </pc:spChg>
        <pc:spChg chg="del mod ord">
          <ac:chgData name="Nwokenna, Ola" userId="24fd04f5-1db1-4044-9d5a-a2564da48616" providerId="ADAL" clId="{069E6D5C-44E2-4543-A9E5-23AB25AAE2AA}" dt="2019-05-28T12:04:25.681" v="30120"/>
          <ac:spMkLst>
            <pc:docMk/>
            <pc:sldMk cId="944128186" sldId="636"/>
            <ac:spMk id="24" creationId="{C38BBAA9-A891-437D-BA13-F05E2BA66746}"/>
          </ac:spMkLst>
        </pc:spChg>
        <pc:spChg chg="del mod ord">
          <ac:chgData name="Nwokenna, Ola" userId="24fd04f5-1db1-4044-9d5a-a2564da48616" providerId="ADAL" clId="{069E6D5C-44E2-4543-A9E5-23AB25AAE2AA}" dt="2019-05-28T12:05:26.336" v="34494" actId="478"/>
          <ac:spMkLst>
            <pc:docMk/>
            <pc:sldMk cId="944128186" sldId="636"/>
            <ac:spMk id="25" creationId="{5453313E-6A8E-484D-B032-336D1E156ED9}"/>
          </ac:spMkLst>
        </pc:spChg>
        <pc:spChg chg="del mod ord">
          <ac:chgData name="Nwokenna, Ola" userId="24fd04f5-1db1-4044-9d5a-a2564da48616" providerId="ADAL" clId="{069E6D5C-44E2-4543-A9E5-23AB25AAE2AA}" dt="2019-05-28T12:05:26.336" v="34494" actId="478"/>
          <ac:spMkLst>
            <pc:docMk/>
            <pc:sldMk cId="944128186" sldId="636"/>
            <ac:spMk id="28" creationId="{4230119B-040E-4B7D-963A-2429B82A3DBB}"/>
          </ac:spMkLst>
        </pc:spChg>
        <pc:spChg chg="del mod ord">
          <ac:chgData name="Nwokenna, Ola" userId="24fd04f5-1db1-4044-9d5a-a2564da48616" providerId="ADAL" clId="{069E6D5C-44E2-4543-A9E5-23AB25AAE2AA}" dt="2019-05-28T12:05:26.336" v="34494" actId="478"/>
          <ac:spMkLst>
            <pc:docMk/>
            <pc:sldMk cId="944128186" sldId="636"/>
            <ac:spMk id="29" creationId="{470515CD-6E22-40DF-AB25-08FE089EA1F2}"/>
          </ac:spMkLst>
        </pc:spChg>
        <pc:spChg chg="del mod ord">
          <ac:chgData name="Nwokenna, Ola" userId="24fd04f5-1db1-4044-9d5a-a2564da48616" providerId="ADAL" clId="{069E6D5C-44E2-4543-A9E5-23AB25AAE2AA}" dt="2019-05-28T12:05:26.336" v="34494" actId="478"/>
          <ac:spMkLst>
            <pc:docMk/>
            <pc:sldMk cId="944128186" sldId="636"/>
            <ac:spMk id="30" creationId="{E469084B-94CE-4DFE-882A-FB82AE5ABCDE}"/>
          </ac:spMkLst>
        </pc:spChg>
        <pc:spChg chg="add del mod ord">
          <ac:chgData name="Nwokenna, Ola" userId="24fd04f5-1db1-4044-9d5a-a2564da48616" providerId="ADAL" clId="{069E6D5C-44E2-4543-A9E5-23AB25AAE2AA}" dt="2019-05-28T12:06:03.508" v="35224"/>
          <ac:spMkLst>
            <pc:docMk/>
            <pc:sldMk cId="944128186" sldId="636"/>
            <ac:spMk id="32" creationId="{A3DD14A2-9179-4908-A36C-DB484F68E249}"/>
          </ac:spMkLst>
        </pc:spChg>
        <pc:spChg chg="add del mod ord">
          <ac:chgData name="Nwokenna, Ola" userId="24fd04f5-1db1-4044-9d5a-a2564da48616" providerId="ADAL" clId="{069E6D5C-44E2-4543-A9E5-23AB25AAE2AA}" dt="2019-05-28T12:04:29.634" v="31591"/>
          <ac:spMkLst>
            <pc:docMk/>
            <pc:sldMk cId="944128186" sldId="636"/>
            <ac:spMk id="35" creationId="{BFACE2CF-FEB0-4F1B-BB5F-E84B18185E63}"/>
          </ac:spMkLst>
        </pc:spChg>
        <pc:spChg chg="add del mod ord">
          <ac:chgData name="Nwokenna, Ola" userId="24fd04f5-1db1-4044-9d5a-a2564da48616" providerId="ADAL" clId="{069E6D5C-44E2-4543-A9E5-23AB25AAE2AA}" dt="2019-05-28T12:04:29.636" v="31593"/>
          <ac:spMkLst>
            <pc:docMk/>
            <pc:sldMk cId="944128186" sldId="636"/>
            <ac:spMk id="36" creationId="{7D81E926-F496-41F0-87CE-6B3CAFB04659}"/>
          </ac:spMkLst>
        </pc:spChg>
        <pc:spChg chg="add del mod ord">
          <ac:chgData name="Nwokenna, Ola" userId="24fd04f5-1db1-4044-9d5a-a2564da48616" providerId="ADAL" clId="{069E6D5C-44E2-4543-A9E5-23AB25AAE2AA}" dt="2019-05-28T12:04:29.638" v="31595"/>
          <ac:spMkLst>
            <pc:docMk/>
            <pc:sldMk cId="944128186" sldId="636"/>
            <ac:spMk id="37" creationId="{3BCBE791-EC3D-4EE1-A32C-6CE83F6AB2F2}"/>
          </ac:spMkLst>
        </pc:spChg>
        <pc:spChg chg="add del mod ord">
          <ac:chgData name="Nwokenna, Ola" userId="24fd04f5-1db1-4044-9d5a-a2564da48616" providerId="ADAL" clId="{069E6D5C-44E2-4543-A9E5-23AB25AAE2AA}" dt="2019-05-28T12:04:29.569" v="31537"/>
          <ac:spMkLst>
            <pc:docMk/>
            <pc:sldMk cId="944128186" sldId="636"/>
            <ac:spMk id="38" creationId="{C8790BCD-F8FE-472D-A2C6-C5F0E1D2FEE4}"/>
          </ac:spMkLst>
        </pc:spChg>
        <pc:spChg chg="add del mod ord">
          <ac:chgData name="Nwokenna, Ola" userId="24fd04f5-1db1-4044-9d5a-a2564da48616" providerId="ADAL" clId="{069E6D5C-44E2-4543-A9E5-23AB25AAE2AA}" dt="2019-05-28T12:04:29.572" v="31541"/>
          <ac:spMkLst>
            <pc:docMk/>
            <pc:sldMk cId="944128186" sldId="636"/>
            <ac:spMk id="39" creationId="{999EC3B8-DA85-4434-A7B3-FE10FDB25972}"/>
          </ac:spMkLst>
        </pc:spChg>
        <pc:spChg chg="add del mod ord">
          <ac:chgData name="Nwokenna, Ola" userId="24fd04f5-1db1-4044-9d5a-a2564da48616" providerId="ADAL" clId="{069E6D5C-44E2-4543-A9E5-23AB25AAE2AA}" dt="2019-05-28T12:04:29.578" v="31545"/>
          <ac:spMkLst>
            <pc:docMk/>
            <pc:sldMk cId="944128186" sldId="636"/>
            <ac:spMk id="40" creationId="{BE98D213-1585-4F3C-AB0D-89CA42F5380B}"/>
          </ac:spMkLst>
        </pc:spChg>
        <pc:spChg chg="add del mod ord">
          <ac:chgData name="Nwokenna, Ola" userId="24fd04f5-1db1-4044-9d5a-a2564da48616" providerId="ADAL" clId="{069E6D5C-44E2-4543-A9E5-23AB25AAE2AA}" dt="2019-05-28T12:04:29.583" v="31549"/>
          <ac:spMkLst>
            <pc:docMk/>
            <pc:sldMk cId="944128186" sldId="636"/>
            <ac:spMk id="41" creationId="{AA2F454D-5864-42EA-BDF2-0B017E238D09}"/>
          </ac:spMkLst>
        </pc:spChg>
        <pc:spChg chg="add del mod ord">
          <ac:chgData name="Nwokenna, Ola" userId="24fd04f5-1db1-4044-9d5a-a2564da48616" providerId="ADAL" clId="{069E6D5C-44E2-4543-A9E5-23AB25AAE2AA}" dt="2019-05-28T12:04:29.587" v="31553"/>
          <ac:spMkLst>
            <pc:docMk/>
            <pc:sldMk cId="944128186" sldId="636"/>
            <ac:spMk id="42" creationId="{521C1C84-C201-44EC-9AAB-C3913CAAC7C9}"/>
          </ac:spMkLst>
        </pc:spChg>
        <pc:spChg chg="add del mod ord">
          <ac:chgData name="Nwokenna, Ola" userId="24fd04f5-1db1-4044-9d5a-a2564da48616" providerId="ADAL" clId="{069E6D5C-44E2-4543-A9E5-23AB25AAE2AA}" dt="2019-05-28T12:04:29.591" v="31557"/>
          <ac:spMkLst>
            <pc:docMk/>
            <pc:sldMk cId="944128186" sldId="636"/>
            <ac:spMk id="43" creationId="{039EF8E9-80D6-485E-B7F6-559FEEDB5D73}"/>
          </ac:spMkLst>
        </pc:spChg>
        <pc:spChg chg="add del mod ord">
          <ac:chgData name="Nwokenna, Ola" userId="24fd04f5-1db1-4044-9d5a-a2564da48616" providerId="ADAL" clId="{069E6D5C-44E2-4543-A9E5-23AB25AAE2AA}" dt="2019-05-28T12:04:29.598" v="31561"/>
          <ac:spMkLst>
            <pc:docMk/>
            <pc:sldMk cId="944128186" sldId="636"/>
            <ac:spMk id="44" creationId="{C8A6F5CE-DEC4-4935-9B49-A096052A8F14}"/>
          </ac:spMkLst>
        </pc:spChg>
        <pc:spChg chg="add del mod ord">
          <ac:chgData name="Nwokenna, Ola" userId="24fd04f5-1db1-4044-9d5a-a2564da48616" providerId="ADAL" clId="{069E6D5C-44E2-4543-A9E5-23AB25AAE2AA}" dt="2019-05-28T12:04:29.602" v="31565"/>
          <ac:spMkLst>
            <pc:docMk/>
            <pc:sldMk cId="944128186" sldId="636"/>
            <ac:spMk id="45" creationId="{FFC59470-5586-407D-BC60-D10916609146}"/>
          </ac:spMkLst>
        </pc:spChg>
        <pc:spChg chg="add del mod ord">
          <ac:chgData name="Nwokenna, Ola" userId="24fd04f5-1db1-4044-9d5a-a2564da48616" providerId="ADAL" clId="{069E6D5C-44E2-4543-A9E5-23AB25AAE2AA}" dt="2019-05-28T12:04:29.606" v="31569"/>
          <ac:spMkLst>
            <pc:docMk/>
            <pc:sldMk cId="944128186" sldId="636"/>
            <ac:spMk id="46" creationId="{E7C3BC43-30B9-4281-89F4-16A328EA975B}"/>
          </ac:spMkLst>
        </pc:spChg>
        <pc:spChg chg="add del mod ord">
          <ac:chgData name="Nwokenna, Ola" userId="24fd04f5-1db1-4044-9d5a-a2564da48616" providerId="ADAL" clId="{069E6D5C-44E2-4543-A9E5-23AB25AAE2AA}" dt="2019-05-28T12:04:29.613" v="31573"/>
          <ac:spMkLst>
            <pc:docMk/>
            <pc:sldMk cId="944128186" sldId="636"/>
            <ac:spMk id="47" creationId="{810B5AB2-58F8-45C5-81C8-F223F7E10F33}"/>
          </ac:spMkLst>
        </pc:spChg>
        <pc:spChg chg="add del mod ord">
          <ac:chgData name="Nwokenna, Ola" userId="24fd04f5-1db1-4044-9d5a-a2564da48616" providerId="ADAL" clId="{069E6D5C-44E2-4543-A9E5-23AB25AAE2AA}" dt="2019-05-28T12:04:29.617" v="31577"/>
          <ac:spMkLst>
            <pc:docMk/>
            <pc:sldMk cId="944128186" sldId="636"/>
            <ac:spMk id="48" creationId="{F3687A83-4C55-4EEE-8FAE-F696AAA16557}"/>
          </ac:spMkLst>
        </pc:spChg>
        <pc:spChg chg="add del mod ord">
          <ac:chgData name="Nwokenna, Ola" userId="24fd04f5-1db1-4044-9d5a-a2564da48616" providerId="ADAL" clId="{069E6D5C-44E2-4543-A9E5-23AB25AAE2AA}" dt="2019-05-28T12:04:29.621" v="31581"/>
          <ac:spMkLst>
            <pc:docMk/>
            <pc:sldMk cId="944128186" sldId="636"/>
            <ac:spMk id="49" creationId="{B3D138EE-65BC-4553-AC63-877BD7ED4A6F}"/>
          </ac:spMkLst>
        </pc:spChg>
        <pc:spChg chg="add del mod ord">
          <ac:chgData name="Nwokenna, Ola" userId="24fd04f5-1db1-4044-9d5a-a2564da48616" providerId="ADAL" clId="{069E6D5C-44E2-4543-A9E5-23AB25AAE2AA}" dt="2019-05-28T12:04:29.624" v="31585"/>
          <ac:spMkLst>
            <pc:docMk/>
            <pc:sldMk cId="944128186" sldId="636"/>
            <ac:spMk id="50" creationId="{0B172556-9A59-495A-BC64-B113F99864D5}"/>
          </ac:spMkLst>
        </pc:spChg>
        <pc:spChg chg="add del mod ord">
          <ac:chgData name="Nwokenna, Ola" userId="24fd04f5-1db1-4044-9d5a-a2564da48616" providerId="ADAL" clId="{069E6D5C-44E2-4543-A9E5-23AB25AAE2AA}" dt="2019-05-28T12:04:29.630" v="31589"/>
          <ac:spMkLst>
            <pc:docMk/>
            <pc:sldMk cId="944128186" sldId="636"/>
            <ac:spMk id="51" creationId="{AEC2DC80-B5DA-4843-9591-4CB9B15EDCD0}"/>
          </ac:spMkLst>
        </pc:spChg>
        <pc:spChg chg="add del mod ord">
          <ac:chgData name="Nwokenna, Ola" userId="24fd04f5-1db1-4044-9d5a-a2564da48616" providerId="ADAL" clId="{069E6D5C-44E2-4543-A9E5-23AB25AAE2AA}" dt="2019-05-28T12:04:29.588" v="31555"/>
          <ac:spMkLst>
            <pc:docMk/>
            <pc:sldMk cId="944128186" sldId="636"/>
            <ac:spMk id="53" creationId="{CD28D58B-357F-457C-9E2C-5C9E7305B5E1}"/>
          </ac:spMkLst>
        </pc:spChg>
        <pc:spChg chg="add del mod ord">
          <ac:chgData name="Nwokenna, Ola" userId="24fd04f5-1db1-4044-9d5a-a2564da48616" providerId="ADAL" clId="{069E6D5C-44E2-4543-A9E5-23AB25AAE2AA}" dt="2019-05-28T12:04:29.596" v="31559"/>
          <ac:spMkLst>
            <pc:docMk/>
            <pc:sldMk cId="944128186" sldId="636"/>
            <ac:spMk id="54" creationId="{A54F2E6D-2601-4B20-8E92-96D46D599AB1}"/>
          </ac:spMkLst>
        </pc:spChg>
        <pc:spChg chg="add del mod ord">
          <ac:chgData name="Nwokenna, Ola" userId="24fd04f5-1db1-4044-9d5a-a2564da48616" providerId="ADAL" clId="{069E6D5C-44E2-4543-A9E5-23AB25AAE2AA}" dt="2019-05-28T12:04:29.600" v="31563"/>
          <ac:spMkLst>
            <pc:docMk/>
            <pc:sldMk cId="944128186" sldId="636"/>
            <ac:spMk id="55" creationId="{72D8F444-7911-4AC3-92A8-92F5F19CEAD0}"/>
          </ac:spMkLst>
        </pc:spChg>
        <pc:spChg chg="add del mod ord">
          <ac:chgData name="Nwokenna, Ola" userId="24fd04f5-1db1-4044-9d5a-a2564da48616" providerId="ADAL" clId="{069E6D5C-44E2-4543-A9E5-23AB25AAE2AA}" dt="2019-05-28T12:04:29.604" v="31567"/>
          <ac:spMkLst>
            <pc:docMk/>
            <pc:sldMk cId="944128186" sldId="636"/>
            <ac:spMk id="56" creationId="{3DD0E488-4A1D-414F-8587-2DDC18A90141}"/>
          </ac:spMkLst>
        </pc:spChg>
        <pc:spChg chg="add del mod ord">
          <ac:chgData name="Nwokenna, Ola" userId="24fd04f5-1db1-4044-9d5a-a2564da48616" providerId="ADAL" clId="{069E6D5C-44E2-4543-A9E5-23AB25AAE2AA}" dt="2019-05-28T12:04:29.611" v="31571"/>
          <ac:spMkLst>
            <pc:docMk/>
            <pc:sldMk cId="944128186" sldId="636"/>
            <ac:spMk id="57" creationId="{ECD0E0D9-84E6-47A2-89E5-5419A34D296B}"/>
          </ac:spMkLst>
        </pc:spChg>
        <pc:spChg chg="add del mod ord">
          <ac:chgData name="Nwokenna, Ola" userId="24fd04f5-1db1-4044-9d5a-a2564da48616" providerId="ADAL" clId="{069E6D5C-44E2-4543-A9E5-23AB25AAE2AA}" dt="2019-05-28T12:04:29.615" v="31575"/>
          <ac:spMkLst>
            <pc:docMk/>
            <pc:sldMk cId="944128186" sldId="636"/>
            <ac:spMk id="58" creationId="{FC21904E-F3EE-4A90-8D9F-FA354372AB38}"/>
          </ac:spMkLst>
        </pc:spChg>
        <pc:spChg chg="add del mod ord">
          <ac:chgData name="Nwokenna, Ola" userId="24fd04f5-1db1-4044-9d5a-a2564da48616" providerId="ADAL" clId="{069E6D5C-44E2-4543-A9E5-23AB25AAE2AA}" dt="2019-05-28T12:04:29.619" v="31579"/>
          <ac:spMkLst>
            <pc:docMk/>
            <pc:sldMk cId="944128186" sldId="636"/>
            <ac:spMk id="59" creationId="{4E4CC16F-BCD1-4FBB-8ED9-46FA47752CC2}"/>
          </ac:spMkLst>
        </pc:spChg>
        <pc:spChg chg="add del mod ord">
          <ac:chgData name="Nwokenna, Ola" userId="24fd04f5-1db1-4044-9d5a-a2564da48616" providerId="ADAL" clId="{069E6D5C-44E2-4543-A9E5-23AB25AAE2AA}" dt="2019-05-28T12:04:29.622" v="31583"/>
          <ac:spMkLst>
            <pc:docMk/>
            <pc:sldMk cId="944128186" sldId="636"/>
            <ac:spMk id="60" creationId="{21BD0B3B-1045-474C-AE86-6CCADBCF02AD}"/>
          </ac:spMkLst>
        </pc:spChg>
        <pc:spChg chg="add del mod ord">
          <ac:chgData name="Nwokenna, Ola" userId="24fd04f5-1db1-4044-9d5a-a2564da48616" providerId="ADAL" clId="{069E6D5C-44E2-4543-A9E5-23AB25AAE2AA}" dt="2019-05-28T12:04:29.628" v="31587"/>
          <ac:spMkLst>
            <pc:docMk/>
            <pc:sldMk cId="944128186" sldId="636"/>
            <ac:spMk id="61" creationId="{067DD718-F6F3-4FA6-BA58-79B23A65CAF4}"/>
          </ac:spMkLst>
        </pc:spChg>
        <pc:spChg chg="add del mod ord">
          <ac:chgData name="Nwokenna, Ola" userId="24fd04f5-1db1-4044-9d5a-a2564da48616" providerId="ADAL" clId="{069E6D5C-44E2-4543-A9E5-23AB25AAE2AA}" dt="2019-05-28T12:05:25.276" v="34489"/>
          <ac:spMkLst>
            <pc:docMk/>
            <pc:sldMk cId="944128186" sldId="636"/>
            <ac:spMk id="62" creationId="{71F854A1-73DF-497F-B245-A4F8EE85B0CD}"/>
          </ac:spMkLst>
        </pc:spChg>
        <pc:spChg chg="add del mod ord">
          <ac:chgData name="Nwokenna, Ola" userId="24fd04f5-1db1-4044-9d5a-a2564da48616" providerId="ADAL" clId="{069E6D5C-44E2-4543-A9E5-23AB25AAE2AA}" dt="2019-05-28T12:05:25.277" v="34491"/>
          <ac:spMkLst>
            <pc:docMk/>
            <pc:sldMk cId="944128186" sldId="636"/>
            <ac:spMk id="65" creationId="{96C1F312-53D7-4C5A-A7C4-BB94D066ED92}"/>
          </ac:spMkLst>
        </pc:spChg>
        <pc:spChg chg="add del mod ord">
          <ac:chgData name="Nwokenna, Ola" userId="24fd04f5-1db1-4044-9d5a-a2564da48616" providerId="ADAL" clId="{069E6D5C-44E2-4543-A9E5-23AB25AAE2AA}" dt="2019-05-28T12:05:25.275" v="34487"/>
          <ac:spMkLst>
            <pc:docMk/>
            <pc:sldMk cId="944128186" sldId="636"/>
            <ac:spMk id="66" creationId="{6A0D6B51-6F2E-462F-B522-8811B65B9562}"/>
          </ac:spMkLst>
        </pc:spChg>
        <pc:spChg chg="add del mod ord">
          <ac:chgData name="Nwokenna, Ola" userId="24fd04f5-1db1-4044-9d5a-a2564da48616" providerId="ADAL" clId="{069E6D5C-44E2-4543-A9E5-23AB25AAE2AA}" dt="2019-05-28T12:05:25.272" v="34483"/>
          <ac:spMkLst>
            <pc:docMk/>
            <pc:sldMk cId="944128186" sldId="636"/>
            <ac:spMk id="67" creationId="{68C3FC9A-51A2-4205-891A-3FC6C1931FD6}"/>
          </ac:spMkLst>
        </pc:spChg>
        <pc:spChg chg="add del mod ord">
          <ac:chgData name="Nwokenna, Ola" userId="24fd04f5-1db1-4044-9d5a-a2564da48616" providerId="ADAL" clId="{069E6D5C-44E2-4543-A9E5-23AB25AAE2AA}" dt="2019-05-28T12:05:25.268" v="34479"/>
          <ac:spMkLst>
            <pc:docMk/>
            <pc:sldMk cId="944128186" sldId="636"/>
            <ac:spMk id="68" creationId="{D4F7A667-25C6-4075-90B3-18EC95CB0DB9}"/>
          </ac:spMkLst>
        </pc:spChg>
        <pc:spChg chg="add del mod ord">
          <ac:chgData name="Nwokenna, Ola" userId="24fd04f5-1db1-4044-9d5a-a2564da48616" providerId="ADAL" clId="{069E6D5C-44E2-4543-A9E5-23AB25AAE2AA}" dt="2019-05-28T12:05:25.263" v="34475"/>
          <ac:spMkLst>
            <pc:docMk/>
            <pc:sldMk cId="944128186" sldId="636"/>
            <ac:spMk id="69" creationId="{4A63542C-DA0C-4C74-9CE0-B5142E7B9A96}"/>
          </ac:spMkLst>
        </pc:spChg>
        <pc:spChg chg="add del mod ord">
          <ac:chgData name="Nwokenna, Ola" userId="24fd04f5-1db1-4044-9d5a-a2564da48616" providerId="ADAL" clId="{069E6D5C-44E2-4543-A9E5-23AB25AAE2AA}" dt="2019-05-28T12:04:55.057" v="33329"/>
          <ac:spMkLst>
            <pc:docMk/>
            <pc:sldMk cId="944128186" sldId="636"/>
            <ac:spMk id="70" creationId="{176C6A52-E145-4510-ABA4-46C5B38CA4FD}"/>
          </ac:spMkLst>
        </pc:spChg>
        <pc:spChg chg="add del mod ord">
          <ac:chgData name="Nwokenna, Ola" userId="24fd04f5-1db1-4044-9d5a-a2564da48616" providerId="ADAL" clId="{069E6D5C-44E2-4543-A9E5-23AB25AAE2AA}" dt="2019-05-28T12:04:55.064" v="33333"/>
          <ac:spMkLst>
            <pc:docMk/>
            <pc:sldMk cId="944128186" sldId="636"/>
            <ac:spMk id="71" creationId="{7D6A9458-D66F-4BE2-8373-9C40F5A5862E}"/>
          </ac:spMkLst>
        </pc:spChg>
        <pc:spChg chg="add del mod ord">
          <ac:chgData name="Nwokenna, Ola" userId="24fd04f5-1db1-4044-9d5a-a2564da48616" providerId="ADAL" clId="{069E6D5C-44E2-4543-A9E5-23AB25AAE2AA}" dt="2019-05-28T12:04:55.073" v="33337"/>
          <ac:spMkLst>
            <pc:docMk/>
            <pc:sldMk cId="944128186" sldId="636"/>
            <ac:spMk id="73" creationId="{FAA031BC-FBC4-4205-9C6A-70BF8B1B6533}"/>
          </ac:spMkLst>
        </pc:spChg>
        <pc:spChg chg="add del mod ord">
          <ac:chgData name="Nwokenna, Ola" userId="24fd04f5-1db1-4044-9d5a-a2564da48616" providerId="ADAL" clId="{069E6D5C-44E2-4543-A9E5-23AB25AAE2AA}" dt="2019-05-28T12:04:55.080" v="33341"/>
          <ac:spMkLst>
            <pc:docMk/>
            <pc:sldMk cId="944128186" sldId="636"/>
            <ac:spMk id="74" creationId="{D0AE3FC8-D3AB-4B08-881D-A878C5AE8BA0}"/>
          </ac:spMkLst>
        </pc:spChg>
        <pc:spChg chg="add del mod ord">
          <ac:chgData name="Nwokenna, Ola" userId="24fd04f5-1db1-4044-9d5a-a2564da48616" providerId="ADAL" clId="{069E6D5C-44E2-4543-A9E5-23AB25AAE2AA}" dt="2019-05-28T12:04:55.088" v="33345"/>
          <ac:spMkLst>
            <pc:docMk/>
            <pc:sldMk cId="944128186" sldId="636"/>
            <ac:spMk id="75" creationId="{EBE6D393-E344-41C3-949F-E37B077A827D}"/>
          </ac:spMkLst>
        </pc:spChg>
        <pc:spChg chg="add del mod ord">
          <ac:chgData name="Nwokenna, Ola" userId="24fd04f5-1db1-4044-9d5a-a2564da48616" providerId="ADAL" clId="{069E6D5C-44E2-4543-A9E5-23AB25AAE2AA}" dt="2019-05-28T12:04:55.095" v="33349"/>
          <ac:spMkLst>
            <pc:docMk/>
            <pc:sldMk cId="944128186" sldId="636"/>
            <ac:spMk id="76" creationId="{0AED477E-C06C-4F4F-B397-18EBE5A41206}"/>
          </ac:spMkLst>
        </pc:spChg>
        <pc:spChg chg="add del mod ord">
          <ac:chgData name="Nwokenna, Ola" userId="24fd04f5-1db1-4044-9d5a-a2564da48616" providerId="ADAL" clId="{069E6D5C-44E2-4543-A9E5-23AB25AAE2AA}" dt="2019-05-28T12:05:06.097" v="33548"/>
          <ac:spMkLst>
            <pc:docMk/>
            <pc:sldMk cId="944128186" sldId="636"/>
            <ac:spMk id="77" creationId="{A74C2F81-AB43-4343-9623-96774BEBBC51}"/>
          </ac:spMkLst>
        </pc:spChg>
        <pc:spChg chg="add del mod ord">
          <ac:chgData name="Nwokenna, Ola" userId="24fd04f5-1db1-4044-9d5a-a2564da48616" providerId="ADAL" clId="{069E6D5C-44E2-4543-A9E5-23AB25AAE2AA}" dt="2019-05-28T12:05:06.092" v="33546"/>
          <ac:spMkLst>
            <pc:docMk/>
            <pc:sldMk cId="944128186" sldId="636"/>
            <ac:spMk id="78" creationId="{E4060F07-CF60-446A-8554-E6658FE77F88}"/>
          </ac:spMkLst>
        </pc:spChg>
        <pc:spChg chg="add del mod ord">
          <ac:chgData name="Nwokenna, Ola" userId="24fd04f5-1db1-4044-9d5a-a2564da48616" providerId="ADAL" clId="{069E6D5C-44E2-4543-A9E5-23AB25AAE2AA}" dt="2019-05-28T12:05:06.100" v="33552"/>
          <ac:spMkLst>
            <pc:docMk/>
            <pc:sldMk cId="944128186" sldId="636"/>
            <ac:spMk id="79" creationId="{97CC1960-EF99-4B58-9971-542AD5305346}"/>
          </ac:spMkLst>
        </pc:spChg>
        <pc:spChg chg="add del mod ord">
          <ac:chgData name="Nwokenna, Ola" userId="24fd04f5-1db1-4044-9d5a-a2564da48616" providerId="ADAL" clId="{069E6D5C-44E2-4543-A9E5-23AB25AAE2AA}" dt="2019-05-28T12:05:06.099" v="33550"/>
          <ac:spMkLst>
            <pc:docMk/>
            <pc:sldMk cId="944128186" sldId="636"/>
            <ac:spMk id="80" creationId="{E4611E53-B525-4813-97BC-9A2C0C19B4B8}"/>
          </ac:spMkLst>
        </pc:spChg>
        <pc:spChg chg="add del mod ord">
          <ac:chgData name="Nwokenna, Ola" userId="24fd04f5-1db1-4044-9d5a-a2564da48616" providerId="ADAL" clId="{069E6D5C-44E2-4543-A9E5-23AB25AAE2AA}" dt="2019-05-28T12:05:06.105" v="33556"/>
          <ac:spMkLst>
            <pc:docMk/>
            <pc:sldMk cId="944128186" sldId="636"/>
            <ac:spMk id="81" creationId="{9872E97E-CC25-455E-B1B2-8889C19E934F}"/>
          </ac:spMkLst>
        </pc:spChg>
        <pc:spChg chg="add del mod ord">
          <ac:chgData name="Nwokenna, Ola" userId="24fd04f5-1db1-4044-9d5a-a2564da48616" providerId="ADAL" clId="{069E6D5C-44E2-4543-A9E5-23AB25AAE2AA}" dt="2019-05-28T12:05:06.103" v="33554"/>
          <ac:spMkLst>
            <pc:docMk/>
            <pc:sldMk cId="944128186" sldId="636"/>
            <ac:spMk id="82" creationId="{CBA33AAD-7259-4F20-8D18-F3DA811C7ACE}"/>
          </ac:spMkLst>
        </pc:spChg>
        <pc:spChg chg="add del mod ord">
          <ac:chgData name="Nwokenna, Ola" userId="24fd04f5-1db1-4044-9d5a-a2564da48616" providerId="ADAL" clId="{069E6D5C-44E2-4543-A9E5-23AB25AAE2AA}" dt="2019-05-28T12:05:06.109" v="33560"/>
          <ac:spMkLst>
            <pc:docMk/>
            <pc:sldMk cId="944128186" sldId="636"/>
            <ac:spMk id="83" creationId="{4DA2B9F1-B128-4B46-9DAE-89D3980B396D}"/>
          </ac:spMkLst>
        </pc:spChg>
        <pc:spChg chg="add del mod ord">
          <ac:chgData name="Nwokenna, Ola" userId="24fd04f5-1db1-4044-9d5a-a2564da48616" providerId="ADAL" clId="{069E6D5C-44E2-4543-A9E5-23AB25AAE2AA}" dt="2019-05-28T12:05:06.107" v="33558"/>
          <ac:spMkLst>
            <pc:docMk/>
            <pc:sldMk cId="944128186" sldId="636"/>
            <ac:spMk id="84" creationId="{9E879A62-4112-4263-AD7D-A93D3915B9BA}"/>
          </ac:spMkLst>
        </pc:spChg>
        <pc:spChg chg="add del mod ord">
          <ac:chgData name="Nwokenna, Ola" userId="24fd04f5-1db1-4044-9d5a-a2564da48616" providerId="ADAL" clId="{069E6D5C-44E2-4543-A9E5-23AB25AAE2AA}" dt="2019-05-28T12:05:25.273" v="34485"/>
          <ac:spMkLst>
            <pc:docMk/>
            <pc:sldMk cId="944128186" sldId="636"/>
            <ac:spMk id="86" creationId="{18C08D93-5C30-4FFF-89ED-046C52BE5F14}"/>
          </ac:spMkLst>
        </pc:spChg>
        <pc:spChg chg="add del mod ord">
          <ac:chgData name="Nwokenna, Ola" userId="24fd04f5-1db1-4044-9d5a-a2564da48616" providerId="ADAL" clId="{069E6D5C-44E2-4543-A9E5-23AB25AAE2AA}" dt="2019-05-28T12:05:25.270" v="34481"/>
          <ac:spMkLst>
            <pc:docMk/>
            <pc:sldMk cId="944128186" sldId="636"/>
            <ac:spMk id="87" creationId="{7A999582-9BAD-4C74-80BD-ABB28D993F8A}"/>
          </ac:spMkLst>
        </pc:spChg>
        <pc:spChg chg="add del mod ord">
          <ac:chgData name="Nwokenna, Ola" userId="24fd04f5-1db1-4044-9d5a-a2564da48616" providerId="ADAL" clId="{069E6D5C-44E2-4543-A9E5-23AB25AAE2AA}" dt="2019-05-28T12:05:25.266" v="34477"/>
          <ac:spMkLst>
            <pc:docMk/>
            <pc:sldMk cId="944128186" sldId="636"/>
            <ac:spMk id="88" creationId="{7F2C88C9-5F7C-40FB-8A47-2D410441EF03}"/>
          </ac:spMkLst>
        </pc:spChg>
        <pc:spChg chg="add del mod ord">
          <ac:chgData name="Nwokenna, Ola" userId="24fd04f5-1db1-4044-9d5a-a2564da48616" providerId="ADAL" clId="{069E6D5C-44E2-4543-A9E5-23AB25AAE2AA}" dt="2019-05-28T12:05:25.259" v="34473"/>
          <ac:spMkLst>
            <pc:docMk/>
            <pc:sldMk cId="944128186" sldId="636"/>
            <ac:spMk id="89" creationId="{01BCB242-CB44-4AC8-A477-303167B35B08}"/>
          </ac:spMkLst>
        </pc:spChg>
        <pc:spChg chg="add del mod ord">
          <ac:chgData name="Nwokenna, Ola" userId="24fd04f5-1db1-4044-9d5a-a2564da48616" providerId="ADAL" clId="{069E6D5C-44E2-4543-A9E5-23AB25AAE2AA}" dt="2019-05-28T12:04:55.054" v="33327"/>
          <ac:spMkLst>
            <pc:docMk/>
            <pc:sldMk cId="944128186" sldId="636"/>
            <ac:spMk id="90" creationId="{EA9EAEC7-C770-4A0F-B210-FF40FE1FC861}"/>
          </ac:spMkLst>
        </pc:spChg>
        <pc:spChg chg="add del mod ord">
          <ac:chgData name="Nwokenna, Ola" userId="24fd04f5-1db1-4044-9d5a-a2564da48616" providerId="ADAL" clId="{069E6D5C-44E2-4543-A9E5-23AB25AAE2AA}" dt="2019-05-28T12:04:55.062" v="33331"/>
          <ac:spMkLst>
            <pc:docMk/>
            <pc:sldMk cId="944128186" sldId="636"/>
            <ac:spMk id="91" creationId="{E7939197-91F4-4D63-91B0-FBC0D069D8AC}"/>
          </ac:spMkLst>
        </pc:spChg>
        <pc:spChg chg="add del mod ord">
          <ac:chgData name="Nwokenna, Ola" userId="24fd04f5-1db1-4044-9d5a-a2564da48616" providerId="ADAL" clId="{069E6D5C-44E2-4543-A9E5-23AB25AAE2AA}" dt="2019-05-28T12:04:55.072" v="33335"/>
          <ac:spMkLst>
            <pc:docMk/>
            <pc:sldMk cId="944128186" sldId="636"/>
            <ac:spMk id="92" creationId="{0434D7F9-1130-4BD9-97C6-9C0A39E52EDD}"/>
          </ac:spMkLst>
        </pc:spChg>
        <pc:spChg chg="add del mod ord">
          <ac:chgData name="Nwokenna, Ola" userId="24fd04f5-1db1-4044-9d5a-a2564da48616" providerId="ADAL" clId="{069E6D5C-44E2-4543-A9E5-23AB25AAE2AA}" dt="2019-05-28T12:04:55.079" v="33339"/>
          <ac:spMkLst>
            <pc:docMk/>
            <pc:sldMk cId="944128186" sldId="636"/>
            <ac:spMk id="93" creationId="{AAD6F4C3-6EF4-4CA6-BF8F-754760900447}"/>
          </ac:spMkLst>
        </pc:spChg>
        <pc:spChg chg="add del mod ord">
          <ac:chgData name="Nwokenna, Ola" userId="24fd04f5-1db1-4044-9d5a-a2564da48616" providerId="ADAL" clId="{069E6D5C-44E2-4543-A9E5-23AB25AAE2AA}" dt="2019-05-28T12:04:55.086" v="33343"/>
          <ac:spMkLst>
            <pc:docMk/>
            <pc:sldMk cId="944128186" sldId="636"/>
            <ac:spMk id="94" creationId="{475162E7-75F8-439F-97BE-2E9572F4998A}"/>
          </ac:spMkLst>
        </pc:spChg>
        <pc:spChg chg="add del mod ord">
          <ac:chgData name="Nwokenna, Ola" userId="24fd04f5-1db1-4044-9d5a-a2564da48616" providerId="ADAL" clId="{069E6D5C-44E2-4543-A9E5-23AB25AAE2AA}" dt="2019-05-28T12:04:55.093" v="33347"/>
          <ac:spMkLst>
            <pc:docMk/>
            <pc:sldMk cId="944128186" sldId="636"/>
            <ac:spMk id="95" creationId="{C0589454-1E1A-4360-96F3-603E806D0FA4}"/>
          </ac:spMkLst>
        </pc:spChg>
        <pc:spChg chg="add del mod ord">
          <ac:chgData name="Nwokenna, Ola" userId="24fd04f5-1db1-4044-9d5a-a2564da48616" providerId="ADAL" clId="{069E6D5C-44E2-4543-A9E5-23AB25AAE2AA}" dt="2019-05-28T12:06:03.525" v="35240"/>
          <ac:spMkLst>
            <pc:docMk/>
            <pc:sldMk cId="944128186" sldId="636"/>
            <ac:spMk id="98" creationId="{C5BD6858-58C7-428F-BD6D-26FE8E64909C}"/>
          </ac:spMkLst>
        </pc:spChg>
        <pc:spChg chg="add del mod ord">
          <ac:chgData name="Nwokenna, Ola" userId="24fd04f5-1db1-4044-9d5a-a2564da48616" providerId="ADAL" clId="{069E6D5C-44E2-4543-A9E5-23AB25AAE2AA}" dt="2019-05-28T12:06:03.523" v="35238"/>
          <ac:spMkLst>
            <pc:docMk/>
            <pc:sldMk cId="944128186" sldId="636"/>
            <ac:spMk id="99" creationId="{3D3B4D3E-EDB6-4AAA-8D65-5A07DC1C019F}"/>
          </ac:spMkLst>
        </pc:spChg>
        <pc:spChg chg="add del mod ord">
          <ac:chgData name="Nwokenna, Ola" userId="24fd04f5-1db1-4044-9d5a-a2564da48616" providerId="ADAL" clId="{069E6D5C-44E2-4543-A9E5-23AB25AAE2AA}" dt="2019-05-28T12:06:03.518" v="35234"/>
          <ac:spMkLst>
            <pc:docMk/>
            <pc:sldMk cId="944128186" sldId="636"/>
            <ac:spMk id="100" creationId="{F1D86C2A-DBCB-4BE7-921C-F9AF3519E6C4}"/>
          </ac:spMkLst>
        </pc:spChg>
        <pc:spChg chg="add del mod ord">
          <ac:chgData name="Nwokenna, Ola" userId="24fd04f5-1db1-4044-9d5a-a2564da48616" providerId="ADAL" clId="{069E6D5C-44E2-4543-A9E5-23AB25AAE2AA}" dt="2019-05-28T12:06:03.516" v="35232"/>
          <ac:spMkLst>
            <pc:docMk/>
            <pc:sldMk cId="944128186" sldId="636"/>
            <ac:spMk id="101" creationId="{76E69D71-C98C-4677-B17F-B40B50E5F45A}"/>
          </ac:spMkLst>
        </pc:spChg>
        <pc:spChg chg="add del mod ord">
          <ac:chgData name="Nwokenna, Ola" userId="24fd04f5-1db1-4044-9d5a-a2564da48616" providerId="ADAL" clId="{069E6D5C-44E2-4543-A9E5-23AB25AAE2AA}" dt="2019-05-28T12:06:03.512" v="35228"/>
          <ac:spMkLst>
            <pc:docMk/>
            <pc:sldMk cId="944128186" sldId="636"/>
            <ac:spMk id="102" creationId="{0EC4CE5D-28EA-46FF-9FE8-2D7E67F9E7FF}"/>
          </ac:spMkLst>
        </pc:spChg>
        <pc:spChg chg="add del mod ord">
          <ac:chgData name="Nwokenna, Ola" userId="24fd04f5-1db1-4044-9d5a-a2564da48616" providerId="ADAL" clId="{069E6D5C-44E2-4543-A9E5-23AB25AAE2AA}" dt="2019-05-28T12:06:03.510" v="35226"/>
          <ac:spMkLst>
            <pc:docMk/>
            <pc:sldMk cId="944128186" sldId="636"/>
            <ac:spMk id="103" creationId="{B80E1ED4-F91C-4376-B7BE-DD324F1C1C9E}"/>
          </ac:spMkLst>
        </pc:spChg>
        <pc:spChg chg="add del mod ord">
          <ac:chgData name="Nwokenna, Ola" userId="24fd04f5-1db1-4044-9d5a-a2564da48616" providerId="ADAL" clId="{069E6D5C-44E2-4543-A9E5-23AB25AAE2AA}" dt="2019-05-28T12:06:03.506" v="35222"/>
          <ac:spMkLst>
            <pc:docMk/>
            <pc:sldMk cId="944128186" sldId="636"/>
            <ac:spMk id="104" creationId="{57C2EA16-483F-4752-A5F5-079F6A9804CC}"/>
          </ac:spMkLst>
        </pc:spChg>
        <pc:spChg chg="add del mod ord">
          <ac:chgData name="Nwokenna, Ola" userId="24fd04f5-1db1-4044-9d5a-a2564da48616" providerId="ADAL" clId="{069E6D5C-44E2-4543-A9E5-23AB25AAE2AA}" dt="2019-05-28T12:06:03.501" v="35220"/>
          <ac:spMkLst>
            <pc:docMk/>
            <pc:sldMk cId="944128186" sldId="636"/>
            <ac:spMk id="105" creationId="{A8D38B93-91A0-414A-88AF-32D8D581D014}"/>
          </ac:spMkLst>
        </pc:spChg>
        <pc:spChg chg="add mod ord">
          <ac:chgData name="Nwokenna, Ola" userId="24fd04f5-1db1-4044-9d5a-a2564da48616" providerId="ADAL" clId="{069E6D5C-44E2-4543-A9E5-23AB25AAE2AA}" dt="2019-05-28T12:32:57.864" v="40343"/>
          <ac:spMkLst>
            <pc:docMk/>
            <pc:sldMk cId="944128186" sldId="636"/>
            <ac:spMk id="108" creationId="{49540E2B-75E8-4F83-8BCA-DBDB10318630}"/>
          </ac:spMkLst>
        </pc:spChg>
        <pc:spChg chg="add del mod ord">
          <ac:chgData name="Nwokenna, Ola" userId="24fd04f5-1db1-4044-9d5a-a2564da48616" providerId="ADAL" clId="{069E6D5C-44E2-4543-A9E5-23AB25AAE2AA}" dt="2019-05-28T12:05:34.098" v="34868" actId="478"/>
          <ac:spMkLst>
            <pc:docMk/>
            <pc:sldMk cId="944128186" sldId="636"/>
            <ac:spMk id="109" creationId="{E25E5833-ABC5-4B3E-A930-AFCB3F26BBE9}"/>
          </ac:spMkLst>
        </pc:spChg>
        <pc:spChg chg="add mod ord">
          <ac:chgData name="Nwokenna, Ola" userId="24fd04f5-1db1-4044-9d5a-a2564da48616" providerId="ADAL" clId="{069E6D5C-44E2-4543-A9E5-23AB25AAE2AA}" dt="2019-05-28T12:32:57.865" v="40345"/>
          <ac:spMkLst>
            <pc:docMk/>
            <pc:sldMk cId="944128186" sldId="636"/>
            <ac:spMk id="110" creationId="{3DFA94DB-7FF0-452D-9BAA-258E24C31A00}"/>
          </ac:spMkLst>
        </pc:spChg>
        <pc:spChg chg="add mod ord">
          <ac:chgData name="Nwokenna, Ola" userId="24fd04f5-1db1-4044-9d5a-a2564da48616" providerId="ADAL" clId="{069E6D5C-44E2-4543-A9E5-23AB25AAE2AA}" dt="2019-05-28T12:32:57.867" v="40347"/>
          <ac:spMkLst>
            <pc:docMk/>
            <pc:sldMk cId="944128186" sldId="636"/>
            <ac:spMk id="111" creationId="{22AF86E0-A11D-4289-9D20-8BE5D74BB1CD}"/>
          </ac:spMkLst>
        </pc:spChg>
        <pc:spChg chg="add mod ord">
          <ac:chgData name="Nwokenna, Ola" userId="24fd04f5-1db1-4044-9d5a-a2564da48616" providerId="ADAL" clId="{069E6D5C-44E2-4543-A9E5-23AB25AAE2AA}" dt="2019-05-28T12:32:57.869" v="40349"/>
          <ac:spMkLst>
            <pc:docMk/>
            <pc:sldMk cId="944128186" sldId="636"/>
            <ac:spMk id="112" creationId="{4C820325-776C-40AD-A441-B4A5F3050E52}"/>
          </ac:spMkLst>
        </pc:spChg>
        <pc:spChg chg="add mod ord">
          <ac:chgData name="Nwokenna, Ola" userId="24fd04f5-1db1-4044-9d5a-a2564da48616" providerId="ADAL" clId="{069E6D5C-44E2-4543-A9E5-23AB25AAE2AA}" dt="2019-05-28T12:32:57.871" v="40351"/>
          <ac:spMkLst>
            <pc:docMk/>
            <pc:sldMk cId="944128186" sldId="636"/>
            <ac:spMk id="113" creationId="{8A8DD5CF-8970-43D0-8E51-CA3EA750427E}"/>
          </ac:spMkLst>
        </pc:spChg>
        <pc:spChg chg="add mod ord">
          <ac:chgData name="Nwokenna, Ola" userId="24fd04f5-1db1-4044-9d5a-a2564da48616" providerId="ADAL" clId="{069E6D5C-44E2-4543-A9E5-23AB25AAE2AA}" dt="2019-05-28T12:32:57.885" v="40370"/>
          <ac:spMkLst>
            <pc:docMk/>
            <pc:sldMk cId="944128186" sldId="636"/>
            <ac:spMk id="115" creationId="{45C04727-5CA0-4E36-9B4B-6D920D408821}"/>
          </ac:spMkLst>
        </pc:spChg>
        <pc:spChg chg="add mod ord">
          <ac:chgData name="Nwokenna, Ola" userId="24fd04f5-1db1-4044-9d5a-a2564da48616" providerId="ADAL" clId="{069E6D5C-44E2-4543-A9E5-23AB25AAE2AA}" dt="2019-05-28T12:32:57.884" v="40368"/>
          <ac:spMkLst>
            <pc:docMk/>
            <pc:sldMk cId="944128186" sldId="636"/>
            <ac:spMk id="116" creationId="{E8712332-4927-4F36-8B95-7512ABF205B5}"/>
          </ac:spMkLst>
        </pc:spChg>
        <pc:spChg chg="add mod ord">
          <ac:chgData name="Nwokenna, Ola" userId="24fd04f5-1db1-4044-9d5a-a2564da48616" providerId="ADAL" clId="{069E6D5C-44E2-4543-A9E5-23AB25AAE2AA}" dt="2019-05-28T12:32:57.882" v="40366"/>
          <ac:spMkLst>
            <pc:docMk/>
            <pc:sldMk cId="944128186" sldId="636"/>
            <ac:spMk id="117" creationId="{C276EF08-57E3-4DFF-B166-92AA74DAB274}"/>
          </ac:spMkLst>
        </pc:spChg>
        <pc:spChg chg="add mod ord">
          <ac:chgData name="Nwokenna, Ola" userId="24fd04f5-1db1-4044-9d5a-a2564da48616" providerId="ADAL" clId="{069E6D5C-44E2-4543-A9E5-23AB25AAE2AA}" dt="2019-05-28T12:32:57.887" v="40372"/>
          <ac:spMkLst>
            <pc:docMk/>
            <pc:sldMk cId="944128186" sldId="636"/>
            <ac:spMk id="118" creationId="{5CFF38AE-2AEE-4D57-BAED-69DCC7312149}"/>
          </ac:spMkLst>
        </pc:spChg>
        <pc:spChg chg="add mod ord">
          <ac:chgData name="Nwokenna, Ola" userId="24fd04f5-1db1-4044-9d5a-a2564da48616" providerId="ADAL" clId="{069E6D5C-44E2-4543-A9E5-23AB25AAE2AA}" dt="2019-05-28T12:32:57.891" v="40376"/>
          <ac:spMkLst>
            <pc:docMk/>
            <pc:sldMk cId="944128186" sldId="636"/>
            <ac:spMk id="119" creationId="{1C041FBF-ED9A-4F46-B187-4C6D33B60777}"/>
          </ac:spMkLst>
        </pc:spChg>
        <pc:spChg chg="add mod ord">
          <ac:chgData name="Nwokenna, Ola" userId="24fd04f5-1db1-4044-9d5a-a2564da48616" providerId="ADAL" clId="{069E6D5C-44E2-4543-A9E5-23AB25AAE2AA}" dt="2019-05-28T12:32:57.892" v="40378"/>
          <ac:spMkLst>
            <pc:docMk/>
            <pc:sldMk cId="944128186" sldId="636"/>
            <ac:spMk id="120" creationId="{8849DA82-5B13-4CA4-AE0D-6848500A20A9}"/>
          </ac:spMkLst>
        </pc:spChg>
        <pc:spChg chg="add mod ord">
          <ac:chgData name="Nwokenna, Ola" userId="24fd04f5-1db1-4044-9d5a-a2564da48616" providerId="ADAL" clId="{069E6D5C-44E2-4543-A9E5-23AB25AAE2AA}" dt="2019-05-28T12:32:57.893" v="40380"/>
          <ac:spMkLst>
            <pc:docMk/>
            <pc:sldMk cId="944128186" sldId="636"/>
            <ac:spMk id="121" creationId="{1632B74E-96F1-4056-B767-E971EFA9A3ED}"/>
          </ac:spMkLst>
        </pc:spChg>
        <pc:spChg chg="add mod ord">
          <ac:chgData name="Nwokenna, Ola" userId="24fd04f5-1db1-4044-9d5a-a2564da48616" providerId="ADAL" clId="{069E6D5C-44E2-4543-A9E5-23AB25AAE2AA}" dt="2019-05-28T12:32:57.889" v="40374"/>
          <ac:spMkLst>
            <pc:docMk/>
            <pc:sldMk cId="944128186" sldId="636"/>
            <ac:spMk id="122" creationId="{6A3149C4-ED62-47ED-A3E1-B7D9DF50204E}"/>
          </ac:spMkLst>
        </pc:spChg>
        <pc:spChg chg="add mod ord">
          <ac:chgData name="Nwokenna, Ola" userId="24fd04f5-1db1-4044-9d5a-a2564da48616" providerId="ADAL" clId="{069E6D5C-44E2-4543-A9E5-23AB25AAE2AA}" dt="2019-05-28T12:32:57.894" v="40382"/>
          <ac:spMkLst>
            <pc:docMk/>
            <pc:sldMk cId="944128186" sldId="636"/>
            <ac:spMk id="123" creationId="{D00B45DC-C624-447E-864D-75FD8211394E}"/>
          </ac:spMkLst>
        </pc:spChg>
        <pc:spChg chg="add mod ord">
          <ac:chgData name="Nwokenna, Ola" userId="24fd04f5-1db1-4044-9d5a-a2564da48616" providerId="ADAL" clId="{069E6D5C-44E2-4543-A9E5-23AB25AAE2AA}" dt="2019-05-28T12:32:57.896" v="40386"/>
          <ac:spMkLst>
            <pc:docMk/>
            <pc:sldMk cId="944128186" sldId="636"/>
            <ac:spMk id="124" creationId="{9BA3C41C-FA9B-4C90-BEB8-D9A5E0F98714}"/>
          </ac:spMkLst>
        </pc:spChg>
        <pc:spChg chg="add mod ord">
          <ac:chgData name="Nwokenna, Ola" userId="24fd04f5-1db1-4044-9d5a-a2564da48616" providerId="ADAL" clId="{069E6D5C-44E2-4543-A9E5-23AB25AAE2AA}" dt="2019-05-28T12:32:57.895" v="40384"/>
          <ac:spMkLst>
            <pc:docMk/>
            <pc:sldMk cId="944128186" sldId="636"/>
            <ac:spMk id="125" creationId="{B54B54BE-DAA1-463C-9B16-882838079C1F}"/>
          </ac:spMkLst>
        </pc:spChg>
        <pc:spChg chg="add mod ord">
          <ac:chgData name="Nwokenna, Ola" userId="24fd04f5-1db1-4044-9d5a-a2564da48616" providerId="ADAL" clId="{069E6D5C-44E2-4543-A9E5-23AB25AAE2AA}" dt="2019-05-28T12:32:57.898" v="40388"/>
          <ac:spMkLst>
            <pc:docMk/>
            <pc:sldMk cId="944128186" sldId="636"/>
            <ac:spMk id="126" creationId="{FB48D1F8-019D-4668-A2E9-9C98720D3B79}"/>
          </ac:spMkLst>
        </pc:spChg>
        <pc:spChg chg="add mod ord">
          <ac:chgData name="Nwokenna, Ola" userId="24fd04f5-1db1-4044-9d5a-a2564da48616" providerId="ADAL" clId="{069E6D5C-44E2-4543-A9E5-23AB25AAE2AA}" dt="2019-05-28T12:32:57.901" v="40392"/>
          <ac:spMkLst>
            <pc:docMk/>
            <pc:sldMk cId="944128186" sldId="636"/>
            <ac:spMk id="127" creationId="{82252AE2-7E9E-48F7-B08E-3CAB721F3EB0}"/>
          </ac:spMkLst>
        </pc:spChg>
        <pc:spChg chg="add mod ord">
          <ac:chgData name="Nwokenna, Ola" userId="24fd04f5-1db1-4044-9d5a-a2564da48616" providerId="ADAL" clId="{069E6D5C-44E2-4543-A9E5-23AB25AAE2AA}" dt="2019-05-28T12:32:57.900" v="40390"/>
          <ac:spMkLst>
            <pc:docMk/>
            <pc:sldMk cId="944128186" sldId="636"/>
            <ac:spMk id="128" creationId="{E1213EDC-D763-4AA3-B95F-F4AF48E03AA2}"/>
          </ac:spMkLst>
        </pc:spChg>
        <pc:spChg chg="add del mod ord">
          <ac:chgData name="Nwokenna, Ola" userId="24fd04f5-1db1-4044-9d5a-a2564da48616" providerId="ADAL" clId="{069E6D5C-44E2-4543-A9E5-23AB25AAE2AA}" dt="2019-05-28T12:06:10.933" v="35433"/>
          <ac:spMkLst>
            <pc:docMk/>
            <pc:sldMk cId="944128186" sldId="636"/>
            <ac:spMk id="130" creationId="{8CEF1F84-3143-4670-AD11-130D635BC030}"/>
          </ac:spMkLst>
        </pc:spChg>
        <pc:spChg chg="add del mod ord">
          <ac:chgData name="Nwokenna, Ola" userId="24fd04f5-1db1-4044-9d5a-a2564da48616" providerId="ADAL" clId="{069E6D5C-44E2-4543-A9E5-23AB25AAE2AA}" dt="2019-05-28T12:06:06.749" v="35263"/>
          <ac:spMkLst>
            <pc:docMk/>
            <pc:sldMk cId="944128186" sldId="636"/>
            <ac:spMk id="131" creationId="{E4120D78-58DF-4CE4-8655-09505D5D3D8A}"/>
          </ac:spMkLst>
        </pc:spChg>
        <pc:spChg chg="add del mod ord">
          <ac:chgData name="Nwokenna, Ola" userId="24fd04f5-1db1-4044-9d5a-a2564da48616" providerId="ADAL" clId="{069E6D5C-44E2-4543-A9E5-23AB25AAE2AA}" dt="2019-05-28T12:06:10.941" v="35435"/>
          <ac:spMkLst>
            <pc:docMk/>
            <pc:sldMk cId="944128186" sldId="636"/>
            <ac:spMk id="132" creationId="{F6964ACF-3202-41DC-B35A-4FFBCDCE6994}"/>
          </ac:spMkLst>
        </pc:spChg>
        <pc:spChg chg="add mod ord">
          <ac:chgData name="Nwokenna, Ola" userId="24fd04f5-1db1-4044-9d5a-a2564da48616" providerId="ADAL" clId="{069E6D5C-44E2-4543-A9E5-23AB25AAE2AA}" dt="2019-05-28T12:32:57.902" v="40394"/>
          <ac:spMkLst>
            <pc:docMk/>
            <pc:sldMk cId="944128186" sldId="636"/>
            <ac:spMk id="142" creationId="{5748D20E-0A0B-4F71-8758-232354770361}"/>
          </ac:spMkLst>
        </pc:spChg>
        <pc:spChg chg="add mod ord">
          <ac:chgData name="Nwokenna, Ola" userId="24fd04f5-1db1-4044-9d5a-a2564da48616" providerId="ADAL" clId="{069E6D5C-44E2-4543-A9E5-23AB25AAE2AA}" dt="2019-05-28T12:32:57.873" v="40354"/>
          <ac:spMkLst>
            <pc:docMk/>
            <pc:sldMk cId="944128186" sldId="636"/>
            <ac:spMk id="144" creationId="{A8415380-FE27-4235-8734-C5C62246A1BB}"/>
          </ac:spMkLst>
        </pc:spChg>
        <pc:spChg chg="add mod ord">
          <ac:chgData name="Nwokenna, Ola" userId="24fd04f5-1db1-4044-9d5a-a2564da48616" providerId="ADAL" clId="{069E6D5C-44E2-4543-A9E5-23AB25AAE2AA}" dt="2019-05-28T12:32:57.874" v="40356"/>
          <ac:spMkLst>
            <pc:docMk/>
            <pc:sldMk cId="944128186" sldId="636"/>
            <ac:spMk id="145" creationId="{443A2DA3-368B-4A76-BF43-005D508279BB}"/>
          </ac:spMkLst>
        </pc:spChg>
        <pc:spChg chg="add mod ord">
          <ac:chgData name="Nwokenna, Ola" userId="24fd04f5-1db1-4044-9d5a-a2564da48616" providerId="ADAL" clId="{069E6D5C-44E2-4543-A9E5-23AB25AAE2AA}" dt="2019-05-28T12:32:57.876" v="40358"/>
          <ac:spMkLst>
            <pc:docMk/>
            <pc:sldMk cId="944128186" sldId="636"/>
            <ac:spMk id="146" creationId="{CF6678E2-465D-4E8A-A4F7-A03E36F3EC1A}"/>
          </ac:spMkLst>
        </pc:spChg>
        <pc:spChg chg="add mod ord">
          <ac:chgData name="Nwokenna, Ola" userId="24fd04f5-1db1-4044-9d5a-a2564da48616" providerId="ADAL" clId="{069E6D5C-44E2-4543-A9E5-23AB25AAE2AA}" dt="2019-05-28T12:32:57.877" v="40360"/>
          <ac:spMkLst>
            <pc:docMk/>
            <pc:sldMk cId="944128186" sldId="636"/>
            <ac:spMk id="147" creationId="{B7489E55-9339-46A8-ADD3-4A71869E992C}"/>
          </ac:spMkLst>
        </pc:spChg>
        <pc:spChg chg="add mod ord">
          <ac:chgData name="Nwokenna, Ola" userId="24fd04f5-1db1-4044-9d5a-a2564da48616" providerId="ADAL" clId="{069E6D5C-44E2-4543-A9E5-23AB25AAE2AA}" dt="2019-05-28T12:32:57.878" v="40362"/>
          <ac:spMkLst>
            <pc:docMk/>
            <pc:sldMk cId="944128186" sldId="636"/>
            <ac:spMk id="148" creationId="{A19D2FA9-548D-485D-95ED-2E94FD501CFC}"/>
          </ac:spMkLst>
        </pc:spChg>
        <pc:spChg chg="add mod ord">
          <ac:chgData name="Nwokenna, Ola" userId="24fd04f5-1db1-4044-9d5a-a2564da48616" providerId="ADAL" clId="{069E6D5C-44E2-4543-A9E5-23AB25AAE2AA}" dt="2019-05-28T12:32:57.881" v="40364"/>
          <ac:spMkLst>
            <pc:docMk/>
            <pc:sldMk cId="944128186" sldId="636"/>
            <ac:spMk id="149" creationId="{4A3012EE-B174-4DB8-8AF0-DF74A6CBC639}"/>
          </ac:spMkLst>
        </pc:spChg>
        <pc:spChg chg="add del mod ord">
          <ac:chgData name="Nwokenna, Ola" userId="24fd04f5-1db1-4044-9d5a-a2564da48616" providerId="ADAL" clId="{069E6D5C-44E2-4543-A9E5-23AB25AAE2AA}" dt="2019-05-28T12:32:57.709" v="40305"/>
          <ac:spMkLst>
            <pc:docMk/>
            <pc:sldMk cId="944128186" sldId="636"/>
            <ac:spMk id="150" creationId="{460D04CC-3B04-4203-BE3C-C7790D4022D1}"/>
          </ac:spMkLst>
        </pc:spChg>
        <pc:graphicFrameChg chg="mod ord">
          <ac:chgData name="Nwokenna, Ola" userId="24fd04f5-1db1-4044-9d5a-a2564da48616" providerId="ADAL" clId="{069E6D5C-44E2-4543-A9E5-23AB25AAE2AA}" dt="2019-05-28T12:32:57.914" v="40396"/>
          <ac:graphicFrameMkLst>
            <pc:docMk/>
            <pc:sldMk cId="944128186" sldId="636"/>
            <ac:graphicFrameMk id="7" creationId="{1785E9E7-D3D3-4C36-9104-B4D74CDD6F8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17.379" v="29791"/>
          <ac:graphicFrameMkLst>
            <pc:docMk/>
            <pc:sldMk cId="944128186" sldId="636"/>
            <ac:graphicFrameMk id="26" creationId="{CABA5FFF-5167-420B-8968-D657A45B957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23.450" v="29902"/>
          <ac:graphicFrameMkLst>
            <pc:docMk/>
            <pc:sldMk cId="944128186" sldId="636"/>
            <ac:graphicFrameMk id="27" creationId="{E0E3E160-FD71-4F03-BFF7-11AC64D4377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25.407" v="30037"/>
          <ac:graphicFrameMkLst>
            <pc:docMk/>
            <pc:sldMk cId="944128186" sldId="636"/>
            <ac:graphicFrameMk id="31" creationId="{1472A7DA-CB81-4011-A22F-CE7C47B11ED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25.914" v="30189"/>
          <ac:graphicFrameMkLst>
            <pc:docMk/>
            <pc:sldMk cId="944128186" sldId="636"/>
            <ac:graphicFrameMk id="33" creationId="{0FC527F2-7C3F-456F-8840-ABCF46A3515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28.817" v="31142"/>
          <ac:graphicFrameMkLst>
            <pc:docMk/>
            <pc:sldMk cId="944128186" sldId="636"/>
            <ac:graphicFrameMk id="34" creationId="{45D4E9D6-2328-4BAB-B725-34F84E06D90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29.781" v="31645"/>
          <ac:graphicFrameMkLst>
            <pc:docMk/>
            <pc:sldMk cId="944128186" sldId="636"/>
            <ac:graphicFrameMk id="52" creationId="{003A36CC-E715-4125-8D5B-119AE85D90E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42.351" v="31702"/>
          <ac:graphicFrameMkLst>
            <pc:docMk/>
            <pc:sldMk cId="944128186" sldId="636"/>
            <ac:graphicFrameMk id="63" creationId="{7463D2CE-9078-4E47-811F-967F275DB40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53.998" v="32986"/>
          <ac:graphicFrameMkLst>
            <pc:docMk/>
            <pc:sldMk cId="944128186" sldId="636"/>
            <ac:graphicFrameMk id="64" creationId="{4371918E-FEF2-44EE-8BEB-619A8A341E41}"/>
          </ac:graphicFrameMkLst>
        </pc:graphicFrameChg>
        <pc:graphicFrameChg chg="del">
          <ac:chgData name="Nwokenna, Ola" userId="24fd04f5-1db1-4044-9d5a-a2564da48616" providerId="ADAL" clId="{069E6D5C-44E2-4543-A9E5-23AB25AAE2AA}" dt="2019-05-28T12:04:10.763" v="29690"/>
          <ac:graphicFrameMkLst>
            <pc:docMk/>
            <pc:sldMk cId="944128186" sldId="636"/>
            <ac:graphicFrameMk id="72" creationId="{D556D12F-DD13-47B7-942A-58658B9C11C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55.245" v="33373"/>
          <ac:graphicFrameMkLst>
            <pc:docMk/>
            <pc:sldMk cId="944128186" sldId="636"/>
            <ac:graphicFrameMk id="85" creationId="{0C28DC7E-0AB3-466E-8000-17481C3F390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55.709" v="33466"/>
          <ac:graphicFrameMkLst>
            <pc:docMk/>
            <pc:sldMk cId="944128186" sldId="636"/>
            <ac:graphicFrameMk id="96" creationId="{036A57E0-9DBB-4ED1-9B9D-19831FE28B2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5:07.880" v="34163"/>
          <ac:graphicFrameMkLst>
            <pc:docMk/>
            <pc:sldMk cId="944128186" sldId="636"/>
            <ac:graphicFrameMk id="97" creationId="{E1345F6F-15EA-4FEC-98B9-95F8062E8CB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5:23.825" v="34398"/>
          <ac:graphicFrameMkLst>
            <pc:docMk/>
            <pc:sldMk cId="944128186" sldId="636"/>
            <ac:graphicFrameMk id="106" creationId="{3CF239F2-05DA-4D2B-A705-FEAD2A81668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03.530" v="35243"/>
          <ac:graphicFrameMkLst>
            <pc:docMk/>
            <pc:sldMk cId="944128186" sldId="636"/>
            <ac:graphicFrameMk id="107" creationId="{E55D900A-3A31-4EF7-BF28-F6B3C06260D6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2:05:28.049" v="34781"/>
          <ac:graphicFrameMkLst>
            <pc:docMk/>
            <pc:sldMk cId="944128186" sldId="636"/>
            <ac:graphicFrameMk id="114" creationId="{C483DC60-C04E-4363-A581-99259659026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5:59" v="35116"/>
          <ac:graphicFrameMkLst>
            <pc:docMk/>
            <pc:sldMk cId="944128186" sldId="636"/>
            <ac:graphicFrameMk id="129" creationId="{9652EE88-AA53-42B3-B07D-947B9877D62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06.789" v="35264"/>
          <ac:graphicFrameMkLst>
            <pc:docMk/>
            <pc:sldMk cId="944128186" sldId="636"/>
            <ac:graphicFrameMk id="133" creationId="{FBDAFD09-3C8A-483C-A056-04B7E24AD1C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08.928" v="35350"/>
          <ac:graphicFrameMkLst>
            <pc:docMk/>
            <pc:sldMk cId="944128186" sldId="636"/>
            <ac:graphicFrameMk id="134" creationId="{C7054FEF-9927-495E-A69A-8F6865D4D31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10.960" v="35436"/>
          <ac:graphicFrameMkLst>
            <pc:docMk/>
            <pc:sldMk cId="944128186" sldId="636"/>
            <ac:graphicFrameMk id="135" creationId="{45D6814C-42E7-4026-A6E7-9BE35F3B547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27.331" v="35547"/>
          <ac:graphicFrameMkLst>
            <pc:docMk/>
            <pc:sldMk cId="944128186" sldId="636"/>
            <ac:graphicFrameMk id="136" creationId="{F8FB09AA-8A51-40DB-9D8A-C8A36ADBC3B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34.185" v="35668"/>
          <ac:graphicFrameMkLst>
            <pc:docMk/>
            <pc:sldMk cId="944128186" sldId="636"/>
            <ac:graphicFrameMk id="137" creationId="{195FC0F9-44BA-4928-BFBF-9AAC7F27DD1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40.739" v="35789"/>
          <ac:graphicFrameMkLst>
            <pc:docMk/>
            <pc:sldMk cId="944128186" sldId="636"/>
            <ac:graphicFrameMk id="138" creationId="{FF4040CB-9AEE-4ABC-BDED-43C34FCF810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46.759" v="35919"/>
          <ac:graphicFrameMkLst>
            <pc:docMk/>
            <pc:sldMk cId="944128186" sldId="636"/>
            <ac:graphicFrameMk id="139" creationId="{DB7C71AD-4511-461B-AB49-4D769D29616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7:12.801" v="36037"/>
          <ac:graphicFrameMkLst>
            <pc:docMk/>
            <pc:sldMk cId="944128186" sldId="636"/>
            <ac:graphicFrameMk id="140" creationId="{A9ABBBAD-0FDB-43EF-A625-25E33FE6386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48.685" v="39664"/>
          <ac:graphicFrameMkLst>
            <pc:docMk/>
            <pc:sldMk cId="944128186" sldId="636"/>
            <ac:graphicFrameMk id="141" creationId="{A98BE5BA-2B11-4F04-B927-A4379867870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53.854" v="40232"/>
          <ac:graphicFrameMkLst>
            <pc:docMk/>
            <pc:sldMk cId="944128186" sldId="636"/>
            <ac:graphicFrameMk id="143" creationId="{63C53D01-EAEC-424E-B2A5-A3485C3134D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57.819" v="40328"/>
          <ac:graphicFrameMkLst>
            <pc:docMk/>
            <pc:sldMk cId="944128186" sldId="636"/>
            <ac:graphicFrameMk id="151" creationId="{768A7FCA-A7BE-4745-A833-5B93A29CE29A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32:57.872" v="40352"/>
          <ac:graphicFrameMkLst>
            <pc:docMk/>
            <pc:sldMk cId="944128186" sldId="636"/>
            <ac:graphicFrameMk id="152" creationId="{C158CDE1-B2E8-4E71-87F2-F4E1A798267B}"/>
          </ac:graphicFrameMkLst>
        </pc:graphicFrameChg>
      </pc:sldChg>
      <pc:sldChg chg="addSp modSp add">
        <pc:chgData name="Nwokenna, Ola" userId="24fd04f5-1db1-4044-9d5a-a2564da48616" providerId="ADAL" clId="{069E6D5C-44E2-4543-A9E5-23AB25AAE2AA}" dt="2019-05-28T12:54:44.406" v="50191" actId="20577"/>
        <pc:sldMkLst>
          <pc:docMk/>
          <pc:sldMk cId="3344786702" sldId="637"/>
        </pc:sldMkLst>
        <pc:spChg chg="mod ord">
          <ac:chgData name="Nwokenna, Ola" userId="24fd04f5-1db1-4044-9d5a-a2564da48616" providerId="ADAL" clId="{069E6D5C-44E2-4543-A9E5-23AB25AAE2AA}" dt="2019-05-28T12:11:42.717" v="36397" actId="20577"/>
          <ac:spMkLst>
            <pc:docMk/>
            <pc:sldMk cId="3344786702" sldId="637"/>
            <ac:spMk id="2" creationId="{8BA79374-9D76-4EB2-96CA-AE938F8AAE55}"/>
          </ac:spMkLst>
        </pc:spChg>
        <pc:spChg chg="mod ord">
          <ac:chgData name="Nwokenna, Ola" userId="24fd04f5-1db1-4044-9d5a-a2564da48616" providerId="ADAL" clId="{069E6D5C-44E2-4543-A9E5-23AB25AAE2AA}" dt="2019-05-28T12:14:48.960" v="36574" actId="113"/>
          <ac:spMkLst>
            <pc:docMk/>
            <pc:sldMk cId="3344786702" sldId="637"/>
            <ac:spMk id="3" creationId="{9C86C93F-551B-4271-A51A-D50EEC46F318}"/>
          </ac:spMkLst>
        </pc:spChg>
        <pc:spChg chg="mod ord">
          <ac:chgData name="Nwokenna, Ola" userId="24fd04f5-1db1-4044-9d5a-a2564da48616" providerId="ADAL" clId="{069E6D5C-44E2-4543-A9E5-23AB25AAE2AA}" dt="2019-05-28T12:09:38.608" v="36256"/>
          <ac:spMkLst>
            <pc:docMk/>
            <pc:sldMk cId="3344786702" sldId="637"/>
            <ac:spMk id="4" creationId="{ED63F96C-D2F0-4E8D-9082-712EA976D8CF}"/>
          </ac:spMkLst>
        </pc:spChg>
        <pc:spChg chg="mod ord">
          <ac:chgData name="Nwokenna, Ola" userId="24fd04f5-1db1-4044-9d5a-a2564da48616" providerId="ADAL" clId="{069E6D5C-44E2-4543-A9E5-23AB25AAE2AA}" dt="2019-05-28T12:54:44.406" v="50191" actId="20577"/>
          <ac:spMkLst>
            <pc:docMk/>
            <pc:sldMk cId="3344786702" sldId="637"/>
            <ac:spMk id="5" creationId="{6C72C0B5-D435-4CB2-988D-335E19B7AD07}"/>
          </ac:spMkLst>
        </pc:spChg>
        <pc:spChg chg="add mod ord">
          <ac:chgData name="Nwokenna, Ola" userId="24fd04f5-1db1-4044-9d5a-a2564da48616" providerId="ADAL" clId="{069E6D5C-44E2-4543-A9E5-23AB25AAE2AA}" dt="2019-05-28T12:09:38.600" v="36250"/>
          <ac:spMkLst>
            <pc:docMk/>
            <pc:sldMk cId="3344786702" sldId="637"/>
            <ac:spMk id="6" creationId="{CB8D0B6E-EDEF-441B-9F2B-074642DF6FA6}"/>
          </ac:spMkLst>
        </pc:spChg>
        <pc:graphicFrameChg chg="add mod ord">
          <ac:chgData name="Nwokenna, Ola" userId="24fd04f5-1db1-4044-9d5a-a2564da48616" providerId="ADAL" clId="{069E6D5C-44E2-4543-A9E5-23AB25AAE2AA}" dt="2019-05-28T12:11:43.280" v="36399"/>
          <ac:graphicFrameMkLst>
            <pc:docMk/>
            <pc:sldMk cId="3344786702" sldId="637"/>
            <ac:graphicFrameMk id="7" creationId="{4F7C026E-1FA4-47A7-B1B3-C3791899EDDB}"/>
          </ac:graphicFrameMkLst>
        </pc:graphicFrameChg>
      </pc:sldChg>
      <pc:sldChg chg="modSp add">
        <pc:chgData name="Nwokenna, Ola" userId="24fd04f5-1db1-4044-9d5a-a2564da48616" providerId="ADAL" clId="{069E6D5C-44E2-4543-A9E5-23AB25AAE2AA}" dt="2019-05-28T12:54:48.564" v="50201" actId="20577"/>
        <pc:sldMkLst>
          <pc:docMk/>
          <pc:sldMk cId="1450254461" sldId="638"/>
        </pc:sldMkLst>
        <pc:spChg chg="mod">
          <ac:chgData name="Nwokenna, Ola" userId="24fd04f5-1db1-4044-9d5a-a2564da48616" providerId="ADAL" clId="{069E6D5C-44E2-4543-A9E5-23AB25AAE2AA}" dt="2019-05-28T12:11:47.771" v="36401" actId="20577"/>
          <ac:spMkLst>
            <pc:docMk/>
            <pc:sldMk cId="1450254461" sldId="638"/>
            <ac:spMk id="2" creationId="{8BA79374-9D76-4EB2-96CA-AE938F8AAE55}"/>
          </ac:spMkLst>
        </pc:spChg>
        <pc:spChg chg="mod">
          <ac:chgData name="Nwokenna, Ola" userId="24fd04f5-1db1-4044-9d5a-a2564da48616" providerId="ADAL" clId="{069E6D5C-44E2-4543-A9E5-23AB25AAE2AA}" dt="2019-05-28T12:15:06.837" v="36580" actId="207"/>
          <ac:spMkLst>
            <pc:docMk/>
            <pc:sldMk cId="1450254461" sldId="638"/>
            <ac:spMk id="3" creationId="{9C86C93F-551B-4271-A51A-D50EEC46F318}"/>
          </ac:spMkLst>
        </pc:spChg>
        <pc:spChg chg="mod">
          <ac:chgData name="Nwokenna, Ola" userId="24fd04f5-1db1-4044-9d5a-a2564da48616" providerId="ADAL" clId="{069E6D5C-44E2-4543-A9E5-23AB25AAE2AA}" dt="2019-05-28T12:54:48.564" v="50201" actId="20577"/>
          <ac:spMkLst>
            <pc:docMk/>
            <pc:sldMk cId="1450254461" sldId="638"/>
            <ac:spMk id="5" creationId="{6C72C0B5-D435-4CB2-988D-335E19B7AD07}"/>
          </ac:spMkLst>
        </pc:spChg>
        <pc:spChg chg="mod">
          <ac:chgData name="Nwokenna, Ola" userId="24fd04f5-1db1-4044-9d5a-a2564da48616" providerId="ADAL" clId="{069E6D5C-44E2-4543-A9E5-23AB25AAE2AA}" dt="2019-05-28T12:11:48.351" v="36430" actId="6549"/>
          <ac:spMkLst>
            <pc:docMk/>
            <pc:sldMk cId="1450254461" sldId="638"/>
            <ac:spMk id="6" creationId="{CB8D0B6E-EDEF-441B-9F2B-074642DF6FA6}"/>
          </ac:spMkLst>
        </pc:spChg>
        <pc:graphicFrameChg chg="mod">
          <ac:chgData name="Nwokenna, Ola" userId="24fd04f5-1db1-4044-9d5a-a2564da48616" providerId="ADAL" clId="{069E6D5C-44E2-4543-A9E5-23AB25AAE2AA}" dt="2019-05-28T12:11:48.367" v="36432"/>
          <ac:graphicFrameMkLst>
            <pc:docMk/>
            <pc:sldMk cId="1450254461" sldId="638"/>
            <ac:graphicFrameMk id="7" creationId="{4F7C026E-1FA4-47A7-B1B3-C3791899EDDB}"/>
          </ac:graphicFrameMkLst>
        </pc:graphicFrameChg>
      </pc:sldChg>
      <pc:sldChg chg="modSp add">
        <pc:chgData name="Nwokenna, Ola" userId="24fd04f5-1db1-4044-9d5a-a2564da48616" providerId="ADAL" clId="{069E6D5C-44E2-4543-A9E5-23AB25AAE2AA}" dt="2019-05-28T12:54:53.827" v="50213" actId="20577"/>
        <pc:sldMkLst>
          <pc:docMk/>
          <pc:sldMk cId="2957827946" sldId="639"/>
        </pc:sldMkLst>
        <pc:spChg chg="mod">
          <ac:chgData name="Nwokenna, Ola" userId="24fd04f5-1db1-4044-9d5a-a2564da48616" providerId="ADAL" clId="{069E6D5C-44E2-4543-A9E5-23AB25AAE2AA}" dt="2019-05-28T12:16:10.184" v="36709" actId="20577"/>
          <ac:spMkLst>
            <pc:docMk/>
            <pc:sldMk cId="2957827946" sldId="639"/>
            <ac:spMk id="2" creationId="{8BA79374-9D76-4EB2-96CA-AE938F8AAE55}"/>
          </ac:spMkLst>
        </pc:spChg>
        <pc:spChg chg="mod">
          <ac:chgData name="Nwokenna, Ola" userId="24fd04f5-1db1-4044-9d5a-a2564da48616" providerId="ADAL" clId="{069E6D5C-44E2-4543-A9E5-23AB25AAE2AA}" dt="2019-05-28T12:18:25.035" v="36867" actId="108"/>
          <ac:spMkLst>
            <pc:docMk/>
            <pc:sldMk cId="2957827946" sldId="639"/>
            <ac:spMk id="3" creationId="{9C86C93F-551B-4271-A51A-D50EEC46F318}"/>
          </ac:spMkLst>
        </pc:spChg>
        <pc:spChg chg="mod">
          <ac:chgData name="Nwokenna, Ola" userId="24fd04f5-1db1-4044-9d5a-a2564da48616" providerId="ADAL" clId="{069E6D5C-44E2-4543-A9E5-23AB25AAE2AA}" dt="2019-05-28T12:54:53.827" v="50213" actId="20577"/>
          <ac:spMkLst>
            <pc:docMk/>
            <pc:sldMk cId="2957827946" sldId="639"/>
            <ac:spMk id="5" creationId="{6C72C0B5-D435-4CB2-988D-335E19B7AD07}"/>
          </ac:spMkLst>
        </pc:spChg>
        <pc:spChg chg="mod">
          <ac:chgData name="Nwokenna, Ola" userId="24fd04f5-1db1-4044-9d5a-a2564da48616" providerId="ADAL" clId="{069E6D5C-44E2-4543-A9E5-23AB25AAE2AA}" dt="2019-05-28T12:16:10.778" v="36738" actId="6549"/>
          <ac:spMkLst>
            <pc:docMk/>
            <pc:sldMk cId="2957827946" sldId="639"/>
            <ac:spMk id="6" creationId="{CB8D0B6E-EDEF-441B-9F2B-074642DF6FA6}"/>
          </ac:spMkLst>
        </pc:spChg>
        <pc:graphicFrameChg chg="mod">
          <ac:chgData name="Nwokenna, Ola" userId="24fd04f5-1db1-4044-9d5a-a2564da48616" providerId="ADAL" clId="{069E6D5C-44E2-4543-A9E5-23AB25AAE2AA}" dt="2019-05-28T12:16:10.798" v="36740"/>
          <ac:graphicFrameMkLst>
            <pc:docMk/>
            <pc:sldMk cId="2957827946" sldId="639"/>
            <ac:graphicFrameMk id="7" creationId="{4F7C026E-1FA4-47A7-B1B3-C3791899EDDB}"/>
          </ac:graphicFrameMkLst>
        </pc:graphicFrameChg>
      </pc:sldChg>
      <pc:sldChg chg="modSp add">
        <pc:chgData name="Nwokenna, Ola" userId="24fd04f5-1db1-4044-9d5a-a2564da48616" providerId="ADAL" clId="{069E6D5C-44E2-4543-A9E5-23AB25AAE2AA}" dt="2019-05-28T12:54:57.848" v="50223" actId="20577"/>
        <pc:sldMkLst>
          <pc:docMk/>
          <pc:sldMk cId="3592723746" sldId="640"/>
        </pc:sldMkLst>
        <pc:spChg chg="mod">
          <ac:chgData name="Nwokenna, Ola" userId="24fd04f5-1db1-4044-9d5a-a2564da48616" providerId="ADAL" clId="{069E6D5C-44E2-4543-A9E5-23AB25AAE2AA}" dt="2019-05-28T12:17:42.280" v="36851" actId="20577"/>
          <ac:spMkLst>
            <pc:docMk/>
            <pc:sldMk cId="3592723746" sldId="640"/>
            <ac:spMk id="2" creationId="{8BA79374-9D76-4EB2-96CA-AE938F8AAE55}"/>
          </ac:spMkLst>
        </pc:spChg>
        <pc:spChg chg="mod">
          <ac:chgData name="Nwokenna, Ola" userId="24fd04f5-1db1-4044-9d5a-a2564da48616" providerId="ADAL" clId="{069E6D5C-44E2-4543-A9E5-23AB25AAE2AA}" dt="2019-05-28T12:18:39.162" v="36874" actId="108"/>
          <ac:spMkLst>
            <pc:docMk/>
            <pc:sldMk cId="3592723746" sldId="640"/>
            <ac:spMk id="3" creationId="{9C86C93F-551B-4271-A51A-D50EEC46F318}"/>
          </ac:spMkLst>
        </pc:spChg>
        <pc:spChg chg="mod">
          <ac:chgData name="Nwokenna, Ola" userId="24fd04f5-1db1-4044-9d5a-a2564da48616" providerId="ADAL" clId="{069E6D5C-44E2-4543-A9E5-23AB25AAE2AA}" dt="2019-05-28T12:54:57.848" v="50223" actId="20577"/>
          <ac:spMkLst>
            <pc:docMk/>
            <pc:sldMk cId="3592723746" sldId="640"/>
            <ac:spMk id="5" creationId="{6C72C0B5-D435-4CB2-988D-335E19B7AD07}"/>
          </ac:spMkLst>
        </pc:spChg>
        <pc:spChg chg="mod">
          <ac:chgData name="Nwokenna, Ola" userId="24fd04f5-1db1-4044-9d5a-a2564da48616" providerId="ADAL" clId="{069E6D5C-44E2-4543-A9E5-23AB25AAE2AA}" dt="2019-05-28T12:17:41.975" v="36848" actId="6549"/>
          <ac:spMkLst>
            <pc:docMk/>
            <pc:sldMk cId="3592723746" sldId="640"/>
            <ac:spMk id="6" creationId="{CB8D0B6E-EDEF-441B-9F2B-074642DF6FA6}"/>
          </ac:spMkLst>
        </pc:spChg>
        <pc:graphicFrameChg chg="mod">
          <ac:chgData name="Nwokenna, Ola" userId="24fd04f5-1db1-4044-9d5a-a2564da48616" providerId="ADAL" clId="{069E6D5C-44E2-4543-A9E5-23AB25AAE2AA}" dt="2019-05-28T12:17:42.816" v="36853"/>
          <ac:graphicFrameMkLst>
            <pc:docMk/>
            <pc:sldMk cId="3592723746" sldId="640"/>
            <ac:graphicFrameMk id="7" creationId="{4F7C026E-1FA4-47A7-B1B3-C3791899EDDB}"/>
          </ac:graphicFrameMkLst>
        </pc:graphicFrameChg>
      </pc:sldChg>
      <pc:sldChg chg="modSp add">
        <pc:chgData name="Nwokenna, Ola" userId="24fd04f5-1db1-4044-9d5a-a2564da48616" providerId="ADAL" clId="{069E6D5C-44E2-4543-A9E5-23AB25AAE2AA}" dt="2019-05-28T12:54:39.387" v="50181" actId="20577"/>
        <pc:sldMkLst>
          <pc:docMk/>
          <pc:sldMk cId="3285328451" sldId="641"/>
        </pc:sldMkLst>
        <pc:spChg chg="mod">
          <ac:chgData name="Nwokenna, Ola" userId="24fd04f5-1db1-4044-9d5a-a2564da48616" providerId="ADAL" clId="{069E6D5C-44E2-4543-A9E5-23AB25AAE2AA}" dt="2019-05-28T12:54:35.473" v="50169" actId="20577"/>
          <ac:spMkLst>
            <pc:docMk/>
            <pc:sldMk cId="3285328451" sldId="641"/>
            <ac:spMk id="2" creationId="{8BA79374-9D76-4EB2-96CA-AE938F8AAE55}"/>
          </ac:spMkLst>
        </pc:spChg>
        <pc:spChg chg="mod">
          <ac:chgData name="Nwokenna, Ola" userId="24fd04f5-1db1-4044-9d5a-a2564da48616" providerId="ADAL" clId="{069E6D5C-44E2-4543-A9E5-23AB25AAE2AA}" dt="2019-05-28T12:22:54.211" v="37012" actId="207"/>
          <ac:spMkLst>
            <pc:docMk/>
            <pc:sldMk cId="3285328451" sldId="641"/>
            <ac:spMk id="3" creationId="{9C86C93F-551B-4271-A51A-D50EEC46F318}"/>
          </ac:spMkLst>
        </pc:spChg>
        <pc:spChg chg="mod">
          <ac:chgData name="Nwokenna, Ola" userId="24fd04f5-1db1-4044-9d5a-a2564da48616" providerId="ADAL" clId="{069E6D5C-44E2-4543-A9E5-23AB25AAE2AA}" dt="2019-05-28T12:54:39.387" v="50181" actId="20577"/>
          <ac:spMkLst>
            <pc:docMk/>
            <pc:sldMk cId="3285328451" sldId="641"/>
            <ac:spMk id="5" creationId="{6C72C0B5-D435-4CB2-988D-335E19B7AD07}"/>
          </ac:spMkLst>
        </pc:spChg>
        <pc:spChg chg="mod">
          <ac:chgData name="Nwokenna, Ola" userId="24fd04f5-1db1-4044-9d5a-a2564da48616" providerId="ADAL" clId="{069E6D5C-44E2-4543-A9E5-23AB25AAE2AA}" dt="2019-05-28T12:20:43.962" v="36908" actId="6549"/>
          <ac:spMkLst>
            <pc:docMk/>
            <pc:sldMk cId="3285328451" sldId="641"/>
            <ac:spMk id="6" creationId="{CB8D0B6E-EDEF-441B-9F2B-074642DF6FA6}"/>
          </ac:spMkLst>
        </pc:spChg>
        <pc:graphicFrameChg chg="mod">
          <ac:chgData name="Nwokenna, Ola" userId="24fd04f5-1db1-4044-9d5a-a2564da48616" providerId="ADAL" clId="{069E6D5C-44E2-4543-A9E5-23AB25AAE2AA}" dt="2019-05-28T12:54:36.022" v="50171"/>
          <ac:graphicFrameMkLst>
            <pc:docMk/>
            <pc:sldMk cId="3285328451" sldId="641"/>
            <ac:graphicFrameMk id="7" creationId="{4F7C026E-1FA4-47A7-B1B3-C3791899EDDB}"/>
          </ac:graphicFrameMkLst>
        </pc:graphicFrameChg>
      </pc:sldChg>
      <pc:sldChg chg="addSp delSp modSp add">
        <pc:chgData name="Nwokenna, Ola" userId="24fd04f5-1db1-4044-9d5a-a2564da48616" providerId="ADAL" clId="{069E6D5C-44E2-4543-A9E5-23AB25AAE2AA}" dt="2019-05-28T12:42:21.277" v="45910" actId="1076"/>
        <pc:sldMkLst>
          <pc:docMk/>
          <pc:sldMk cId="457645839" sldId="642"/>
        </pc:sldMkLst>
        <pc:spChg chg="mod ord">
          <ac:chgData name="Nwokenna, Ola" userId="24fd04f5-1db1-4044-9d5a-a2564da48616" providerId="ADAL" clId="{069E6D5C-44E2-4543-A9E5-23AB25AAE2AA}" dt="2019-05-28T12:41:50.863" v="45805" actId="20577"/>
          <ac:spMkLst>
            <pc:docMk/>
            <pc:sldMk cId="457645839" sldId="642"/>
            <ac:spMk id="2" creationId="{5599A1E1-1759-441C-BB4B-04A8739D8120}"/>
          </ac:spMkLst>
        </pc:spChg>
        <pc:spChg chg="del mod ord">
          <ac:chgData name="Nwokenna, Ola" userId="24fd04f5-1db1-4044-9d5a-a2564da48616" providerId="ADAL" clId="{069E6D5C-44E2-4543-A9E5-23AB25AAE2AA}" dt="2019-05-28T12:25:03.444" v="37147" actId="478"/>
          <ac:spMkLst>
            <pc:docMk/>
            <pc:sldMk cId="457645839" sldId="642"/>
            <ac:spMk id="3" creationId="{7F860BCA-D811-494B-9449-76B9E2148DB0}"/>
          </ac:spMkLst>
        </pc:spChg>
        <pc:spChg chg="mod ord">
          <ac:chgData name="Nwokenna, Ola" userId="24fd04f5-1db1-4044-9d5a-a2564da48616" providerId="ADAL" clId="{069E6D5C-44E2-4543-A9E5-23AB25AAE2AA}" dt="2019-05-28T12:40:55.837" v="45717"/>
          <ac:spMkLst>
            <pc:docMk/>
            <pc:sldMk cId="457645839" sldId="642"/>
            <ac:spMk id="4" creationId="{1DF07A04-EE9C-4BE1-B724-664B792FB658}"/>
          </ac:spMkLst>
        </pc:spChg>
        <pc:spChg chg="mod ord">
          <ac:chgData name="Nwokenna, Ola" userId="24fd04f5-1db1-4044-9d5a-a2564da48616" providerId="ADAL" clId="{069E6D5C-44E2-4543-A9E5-23AB25AAE2AA}" dt="2019-05-28T12:40:55.839" v="45719"/>
          <ac:spMkLst>
            <pc:docMk/>
            <pc:sldMk cId="457645839" sldId="642"/>
            <ac:spMk id="5" creationId="{F9D1D924-A0AD-4902-9AED-CBE33047FE57}"/>
          </ac:spMkLst>
        </pc:spChg>
        <pc:spChg chg="add mod ord">
          <ac:chgData name="Nwokenna, Ola" userId="24fd04f5-1db1-4044-9d5a-a2564da48616" providerId="ADAL" clId="{069E6D5C-44E2-4543-A9E5-23AB25AAE2AA}" dt="2019-05-28T12:41:51.396" v="45818" actId="6549"/>
          <ac:spMkLst>
            <pc:docMk/>
            <pc:sldMk cId="457645839" sldId="642"/>
            <ac:spMk id="6" creationId="{FD467EF7-90C7-487A-AD32-810AD6E007D0}"/>
          </ac:spMkLst>
        </pc:spChg>
        <pc:spChg chg="add mod ord">
          <ac:chgData name="Nwokenna, Ola" userId="24fd04f5-1db1-4044-9d5a-a2564da48616" providerId="ADAL" clId="{069E6D5C-44E2-4543-A9E5-23AB25AAE2AA}" dt="2019-05-28T12:40:55.842" v="45721"/>
          <ac:spMkLst>
            <pc:docMk/>
            <pc:sldMk cId="457645839" sldId="642"/>
            <ac:spMk id="8" creationId="{750A08B6-9E7F-48B1-A6F6-44B0696A9F26}"/>
          </ac:spMkLst>
        </pc:spChg>
        <pc:spChg chg="add del mod ord">
          <ac:chgData name="Nwokenna, Ola" userId="24fd04f5-1db1-4044-9d5a-a2564da48616" providerId="ADAL" clId="{069E6D5C-44E2-4543-A9E5-23AB25AAE2AA}" dt="2019-05-28T12:26:41.570" v="38628" actId="478"/>
          <ac:spMkLst>
            <pc:docMk/>
            <pc:sldMk cId="457645839" sldId="642"/>
            <ac:spMk id="9" creationId="{646E00C0-2811-459B-8A05-8387F45BCF58}"/>
          </ac:spMkLst>
        </pc:spChg>
        <pc:spChg chg="add del mod ord">
          <ac:chgData name="Nwokenna, Ola" userId="24fd04f5-1db1-4044-9d5a-a2564da48616" providerId="ADAL" clId="{069E6D5C-44E2-4543-A9E5-23AB25AAE2AA}" dt="2019-05-28T12:26:39.004" v="38625" actId="478"/>
          <ac:spMkLst>
            <pc:docMk/>
            <pc:sldMk cId="457645839" sldId="642"/>
            <ac:spMk id="10" creationId="{8B9A6872-AF03-4CFE-90B6-7FA52D048866}"/>
          </ac:spMkLst>
        </pc:spChg>
        <pc:spChg chg="add del mod ord">
          <ac:chgData name="Nwokenna, Ola" userId="24fd04f5-1db1-4044-9d5a-a2564da48616" providerId="ADAL" clId="{069E6D5C-44E2-4543-A9E5-23AB25AAE2AA}" dt="2019-05-28T12:26:39.587" v="38626" actId="478"/>
          <ac:spMkLst>
            <pc:docMk/>
            <pc:sldMk cId="457645839" sldId="642"/>
            <ac:spMk id="11" creationId="{EAA817E0-A418-4C7E-BA1E-EB4F34F07043}"/>
          </ac:spMkLst>
        </pc:spChg>
        <pc:spChg chg="add del mod ord">
          <ac:chgData name="Nwokenna, Ola" userId="24fd04f5-1db1-4044-9d5a-a2564da48616" providerId="ADAL" clId="{069E6D5C-44E2-4543-A9E5-23AB25AAE2AA}" dt="2019-05-28T12:26:40.535" v="38627" actId="478"/>
          <ac:spMkLst>
            <pc:docMk/>
            <pc:sldMk cId="457645839" sldId="642"/>
            <ac:spMk id="12" creationId="{A5928151-1549-4CE6-B8B7-4ACF3B644670}"/>
          </ac:spMkLst>
        </pc:spChg>
        <pc:spChg chg="add del mod ord">
          <ac:chgData name="Nwokenna, Ola" userId="24fd04f5-1db1-4044-9d5a-a2564da48616" providerId="ADAL" clId="{069E6D5C-44E2-4543-A9E5-23AB25AAE2AA}" dt="2019-05-28T12:26:33.403" v="38559"/>
          <ac:spMkLst>
            <pc:docMk/>
            <pc:sldMk cId="457645839" sldId="642"/>
            <ac:spMk id="14" creationId="{37352047-BAFF-485A-8BC7-36B9301DBC79}"/>
          </ac:spMkLst>
        </pc:spChg>
        <pc:spChg chg="add del mod ord">
          <ac:chgData name="Nwokenna, Ola" userId="24fd04f5-1db1-4044-9d5a-a2564da48616" providerId="ADAL" clId="{069E6D5C-44E2-4543-A9E5-23AB25AAE2AA}" dt="2019-05-28T12:27:53.264" v="38915"/>
          <ac:spMkLst>
            <pc:docMk/>
            <pc:sldMk cId="457645839" sldId="642"/>
            <ac:spMk id="15" creationId="{D0163326-D525-4D0B-AEE4-2C97D94CA517}"/>
          </ac:spMkLst>
        </pc:spChg>
        <pc:spChg chg="add del mod ord">
          <ac:chgData name="Nwokenna, Ola" userId="24fd04f5-1db1-4044-9d5a-a2564da48616" providerId="ADAL" clId="{069E6D5C-44E2-4543-A9E5-23AB25AAE2AA}" dt="2019-05-28T12:26:33.388" v="38555"/>
          <ac:spMkLst>
            <pc:docMk/>
            <pc:sldMk cId="457645839" sldId="642"/>
            <ac:spMk id="16" creationId="{51DF3BE1-E964-4715-BE8C-41A1D9FD3B9D}"/>
          </ac:spMkLst>
        </pc:spChg>
        <pc:spChg chg="add del mod ord">
          <ac:chgData name="Nwokenna, Ola" userId="24fd04f5-1db1-4044-9d5a-a2564da48616" providerId="ADAL" clId="{069E6D5C-44E2-4543-A9E5-23AB25AAE2AA}" dt="2019-05-28T12:26:33.395" v="38557"/>
          <ac:spMkLst>
            <pc:docMk/>
            <pc:sldMk cId="457645839" sldId="642"/>
            <ac:spMk id="17" creationId="{84DC386C-5FE1-4E86-BF66-815FC5102846}"/>
          </ac:spMkLst>
        </pc:spChg>
        <pc:spChg chg="add del mod ord">
          <ac:chgData name="Nwokenna, Ola" userId="24fd04f5-1db1-4044-9d5a-a2564da48616" providerId="ADAL" clId="{069E6D5C-44E2-4543-A9E5-23AB25AAE2AA}" dt="2019-05-28T12:38:36.421" v="43779"/>
          <ac:spMkLst>
            <pc:docMk/>
            <pc:sldMk cId="457645839" sldId="642"/>
            <ac:spMk id="18" creationId="{4BE057CB-9902-4363-9CF4-EC59BFB7DB2B}"/>
          </ac:spMkLst>
        </pc:spChg>
        <pc:spChg chg="add del mod ord">
          <ac:chgData name="Nwokenna, Ola" userId="24fd04f5-1db1-4044-9d5a-a2564da48616" providerId="ADAL" clId="{069E6D5C-44E2-4543-A9E5-23AB25AAE2AA}" dt="2019-05-28T12:26:18.526" v="38004"/>
          <ac:spMkLst>
            <pc:docMk/>
            <pc:sldMk cId="457645839" sldId="642"/>
            <ac:spMk id="19" creationId="{17331E8B-0523-4232-B785-217BD229615E}"/>
          </ac:spMkLst>
        </pc:spChg>
        <pc:spChg chg="add del mod ord">
          <ac:chgData name="Nwokenna, Ola" userId="24fd04f5-1db1-4044-9d5a-a2564da48616" providerId="ADAL" clId="{069E6D5C-44E2-4543-A9E5-23AB25AAE2AA}" dt="2019-05-28T12:26:20.810" v="38164"/>
          <ac:spMkLst>
            <pc:docMk/>
            <pc:sldMk cId="457645839" sldId="642"/>
            <ac:spMk id="20" creationId="{F107FBDE-C48B-4D84-B062-113A2DE5D904}"/>
          </ac:spMkLst>
        </pc:spChg>
        <pc:spChg chg="add del mod ord">
          <ac:chgData name="Nwokenna, Ola" userId="24fd04f5-1db1-4044-9d5a-a2564da48616" providerId="ADAL" clId="{069E6D5C-44E2-4543-A9E5-23AB25AAE2AA}" dt="2019-05-28T12:38:36.425" v="43783"/>
          <ac:spMkLst>
            <pc:docMk/>
            <pc:sldMk cId="457645839" sldId="642"/>
            <ac:spMk id="21" creationId="{013F7DEA-5502-48EF-9CFF-614B3CD5D709}"/>
          </ac:spMkLst>
        </pc:spChg>
        <pc:spChg chg="add del mod ord">
          <ac:chgData name="Nwokenna, Ola" userId="24fd04f5-1db1-4044-9d5a-a2564da48616" providerId="ADAL" clId="{069E6D5C-44E2-4543-A9E5-23AB25AAE2AA}" dt="2019-05-28T12:38:36.417" v="43775"/>
          <ac:spMkLst>
            <pc:docMk/>
            <pc:sldMk cId="457645839" sldId="642"/>
            <ac:spMk id="22" creationId="{9EA88C41-715B-4061-9277-3A68C3696D55}"/>
          </ac:spMkLst>
        </pc:spChg>
        <pc:spChg chg="add del mod ord">
          <ac:chgData name="Nwokenna, Ola" userId="24fd04f5-1db1-4044-9d5a-a2564da48616" providerId="ADAL" clId="{069E6D5C-44E2-4543-A9E5-23AB25AAE2AA}" dt="2019-05-28T12:26:18.529" v="38006"/>
          <ac:spMkLst>
            <pc:docMk/>
            <pc:sldMk cId="457645839" sldId="642"/>
            <ac:spMk id="23" creationId="{1F59F235-27CC-4F7C-98A7-2D10F4F3704C}"/>
          </ac:spMkLst>
        </pc:spChg>
        <pc:spChg chg="add del mod ord">
          <ac:chgData name="Nwokenna, Ola" userId="24fd04f5-1db1-4044-9d5a-a2564da48616" providerId="ADAL" clId="{069E6D5C-44E2-4543-A9E5-23AB25AAE2AA}" dt="2019-05-28T12:38:36.423" v="43781"/>
          <ac:spMkLst>
            <pc:docMk/>
            <pc:sldMk cId="457645839" sldId="642"/>
            <ac:spMk id="24" creationId="{C8EEFFF2-5751-435C-9363-2DEC507C36B5}"/>
          </ac:spMkLst>
        </pc:spChg>
        <pc:spChg chg="add del mod ord">
          <ac:chgData name="Nwokenna, Ola" userId="24fd04f5-1db1-4044-9d5a-a2564da48616" providerId="ADAL" clId="{069E6D5C-44E2-4543-A9E5-23AB25AAE2AA}" dt="2019-05-28T12:26:20.812" v="38166"/>
          <ac:spMkLst>
            <pc:docMk/>
            <pc:sldMk cId="457645839" sldId="642"/>
            <ac:spMk id="25" creationId="{E87B8A08-1C48-43AF-A892-702732DCA7EF}"/>
          </ac:spMkLst>
        </pc:spChg>
        <pc:spChg chg="add del mod ord">
          <ac:chgData name="Nwokenna, Ola" userId="24fd04f5-1db1-4044-9d5a-a2564da48616" providerId="ADAL" clId="{069E6D5C-44E2-4543-A9E5-23AB25AAE2AA}" dt="2019-05-28T12:38:36.427" v="43785"/>
          <ac:spMkLst>
            <pc:docMk/>
            <pc:sldMk cId="457645839" sldId="642"/>
            <ac:spMk id="26" creationId="{E8F73ECB-5253-460A-BF03-2C3693A55C80}"/>
          </ac:spMkLst>
        </pc:spChg>
        <pc:spChg chg="add del mod ord">
          <ac:chgData name="Nwokenna, Ola" userId="24fd04f5-1db1-4044-9d5a-a2564da48616" providerId="ADAL" clId="{069E6D5C-44E2-4543-A9E5-23AB25AAE2AA}" dt="2019-05-28T12:38:36.420" v="43777"/>
          <ac:spMkLst>
            <pc:docMk/>
            <pc:sldMk cId="457645839" sldId="642"/>
            <ac:spMk id="27" creationId="{248ADB75-2DD5-4C47-9366-753FE6386A41}"/>
          </ac:spMkLst>
        </pc:spChg>
        <pc:spChg chg="add del mod ord">
          <ac:chgData name="Nwokenna, Ola" userId="24fd04f5-1db1-4044-9d5a-a2564da48616" providerId="ADAL" clId="{069E6D5C-44E2-4543-A9E5-23AB25AAE2AA}" dt="2019-05-28T12:38:36.434" v="43793"/>
          <ac:spMkLst>
            <pc:docMk/>
            <pc:sldMk cId="457645839" sldId="642"/>
            <ac:spMk id="35" creationId="{C67DD588-1331-42BA-B6BE-D5ADA8DFABD0}"/>
          </ac:spMkLst>
        </pc:spChg>
        <pc:spChg chg="add del mod ord">
          <ac:chgData name="Nwokenna, Ola" userId="24fd04f5-1db1-4044-9d5a-a2564da48616" providerId="ADAL" clId="{069E6D5C-44E2-4543-A9E5-23AB25AAE2AA}" dt="2019-05-28T12:38:36.430" v="43789"/>
          <ac:spMkLst>
            <pc:docMk/>
            <pc:sldMk cId="457645839" sldId="642"/>
            <ac:spMk id="36" creationId="{85E106BD-A84F-4771-A32D-90D0454EB406}"/>
          </ac:spMkLst>
        </pc:spChg>
        <pc:spChg chg="add del mod ord">
          <ac:chgData name="Nwokenna, Ola" userId="24fd04f5-1db1-4044-9d5a-a2564da48616" providerId="ADAL" clId="{069E6D5C-44E2-4543-A9E5-23AB25AAE2AA}" dt="2019-05-28T12:38:36.432" v="43791"/>
          <ac:spMkLst>
            <pc:docMk/>
            <pc:sldMk cId="457645839" sldId="642"/>
            <ac:spMk id="38" creationId="{020DD2DB-C3F4-4FAD-BF31-B031563548F0}"/>
          </ac:spMkLst>
        </pc:spChg>
        <pc:spChg chg="add del mod ord">
          <ac:chgData name="Nwokenna, Ola" userId="24fd04f5-1db1-4044-9d5a-a2564da48616" providerId="ADAL" clId="{069E6D5C-44E2-4543-A9E5-23AB25AAE2AA}" dt="2019-05-28T12:38:36.428" v="43787"/>
          <ac:spMkLst>
            <pc:docMk/>
            <pc:sldMk cId="457645839" sldId="642"/>
            <ac:spMk id="39" creationId="{6FCF3A24-C065-45DA-8C47-94ED9F7669BC}"/>
          </ac:spMkLst>
        </pc:spChg>
        <pc:spChg chg="add del mod ord">
          <ac:chgData name="Nwokenna, Ola" userId="24fd04f5-1db1-4044-9d5a-a2564da48616" providerId="ADAL" clId="{069E6D5C-44E2-4543-A9E5-23AB25AAE2AA}" dt="2019-05-28T12:38:16.784" v="43447"/>
          <ac:spMkLst>
            <pc:docMk/>
            <pc:sldMk cId="457645839" sldId="642"/>
            <ac:spMk id="52" creationId="{75AB8826-F72E-49FE-824C-D34075F2DCF2}"/>
          </ac:spMkLst>
        </pc:spChg>
        <pc:spChg chg="add del mod ord">
          <ac:chgData name="Nwokenna, Ola" userId="24fd04f5-1db1-4044-9d5a-a2564da48616" providerId="ADAL" clId="{069E6D5C-44E2-4543-A9E5-23AB25AAE2AA}" dt="2019-05-28T12:38:16.786" v="43449"/>
          <ac:spMkLst>
            <pc:docMk/>
            <pc:sldMk cId="457645839" sldId="642"/>
            <ac:spMk id="53" creationId="{CEE79E07-E0D5-4C88-84C7-E90C69FA2906}"/>
          </ac:spMkLst>
        </pc:spChg>
        <pc:spChg chg="add del mod ord">
          <ac:chgData name="Nwokenna, Ola" userId="24fd04f5-1db1-4044-9d5a-a2564da48616" providerId="ADAL" clId="{069E6D5C-44E2-4543-A9E5-23AB25AAE2AA}" dt="2019-05-28T12:38:16.788" v="43451"/>
          <ac:spMkLst>
            <pc:docMk/>
            <pc:sldMk cId="457645839" sldId="642"/>
            <ac:spMk id="54" creationId="{C72EFED2-D7EF-4B09-8B25-B0635539B313}"/>
          </ac:spMkLst>
        </pc:spChg>
        <pc:spChg chg="add del mod ord">
          <ac:chgData name="Nwokenna, Ola" userId="24fd04f5-1db1-4044-9d5a-a2564da48616" providerId="ADAL" clId="{069E6D5C-44E2-4543-A9E5-23AB25AAE2AA}" dt="2019-05-28T12:38:16.790" v="43453"/>
          <ac:spMkLst>
            <pc:docMk/>
            <pc:sldMk cId="457645839" sldId="642"/>
            <ac:spMk id="55" creationId="{2BFABFAE-3397-4E71-929D-88EEB14757C2}"/>
          </ac:spMkLst>
        </pc:spChg>
        <pc:spChg chg="add del mod ord">
          <ac:chgData name="Nwokenna, Ola" userId="24fd04f5-1db1-4044-9d5a-a2564da48616" providerId="ADAL" clId="{069E6D5C-44E2-4543-A9E5-23AB25AAE2AA}" dt="2019-05-28T12:38:16.791" v="43455"/>
          <ac:spMkLst>
            <pc:docMk/>
            <pc:sldMk cId="457645839" sldId="642"/>
            <ac:spMk id="56" creationId="{981A93BF-6C40-44F7-9BF6-E1642AB039DC}"/>
          </ac:spMkLst>
        </pc:spChg>
        <pc:spChg chg="add del mod ord">
          <ac:chgData name="Nwokenna, Ola" userId="24fd04f5-1db1-4044-9d5a-a2564da48616" providerId="ADAL" clId="{069E6D5C-44E2-4543-A9E5-23AB25AAE2AA}" dt="2019-05-28T12:38:16.793" v="43457"/>
          <ac:spMkLst>
            <pc:docMk/>
            <pc:sldMk cId="457645839" sldId="642"/>
            <ac:spMk id="57" creationId="{4530FBFA-4F3F-47DD-AED1-2A51EF3DB9AE}"/>
          </ac:spMkLst>
        </pc:spChg>
        <pc:spChg chg="add del mod ord">
          <ac:chgData name="Nwokenna, Ola" userId="24fd04f5-1db1-4044-9d5a-a2564da48616" providerId="ADAL" clId="{069E6D5C-44E2-4543-A9E5-23AB25AAE2AA}" dt="2019-05-28T12:38:16.797" v="43459"/>
          <ac:spMkLst>
            <pc:docMk/>
            <pc:sldMk cId="457645839" sldId="642"/>
            <ac:spMk id="58" creationId="{BB712F53-6880-48C6-8F55-D3681D75DDE9}"/>
          </ac:spMkLst>
        </pc:spChg>
        <pc:spChg chg="add mod ord">
          <ac:chgData name="Nwokenna, Ola" userId="24fd04f5-1db1-4044-9d5a-a2564da48616" providerId="ADAL" clId="{069E6D5C-44E2-4543-A9E5-23AB25AAE2AA}" dt="2019-05-28T12:40:55.845" v="45724"/>
          <ac:spMkLst>
            <pc:docMk/>
            <pc:sldMk cId="457645839" sldId="642"/>
            <ac:spMk id="89" creationId="{2DAC230C-3E8C-4ECE-8CF6-BB3600D69EDC}"/>
          </ac:spMkLst>
        </pc:spChg>
        <pc:spChg chg="add mod ord">
          <ac:chgData name="Nwokenna, Ola" userId="24fd04f5-1db1-4044-9d5a-a2564da48616" providerId="ADAL" clId="{069E6D5C-44E2-4543-A9E5-23AB25AAE2AA}" dt="2019-05-28T12:40:55.847" v="45726"/>
          <ac:spMkLst>
            <pc:docMk/>
            <pc:sldMk cId="457645839" sldId="642"/>
            <ac:spMk id="90" creationId="{EC99E4A5-CE64-4B24-9C61-249FE22488F2}"/>
          </ac:spMkLst>
        </pc:spChg>
        <pc:spChg chg="add mod ord">
          <ac:chgData name="Nwokenna, Ola" userId="24fd04f5-1db1-4044-9d5a-a2564da48616" providerId="ADAL" clId="{069E6D5C-44E2-4543-A9E5-23AB25AAE2AA}" dt="2019-05-28T12:40:55.851" v="45730"/>
          <ac:spMkLst>
            <pc:docMk/>
            <pc:sldMk cId="457645839" sldId="642"/>
            <ac:spMk id="91" creationId="{AAFD17BA-0F9A-4D5A-AE37-565271FF9ADD}"/>
          </ac:spMkLst>
        </pc:spChg>
        <pc:spChg chg="add mod ord">
          <ac:chgData name="Nwokenna, Ola" userId="24fd04f5-1db1-4044-9d5a-a2564da48616" providerId="ADAL" clId="{069E6D5C-44E2-4543-A9E5-23AB25AAE2AA}" dt="2019-05-28T12:40:55.855" v="45734"/>
          <ac:spMkLst>
            <pc:docMk/>
            <pc:sldMk cId="457645839" sldId="642"/>
            <ac:spMk id="92" creationId="{A861AD9E-71A7-4BCA-80ED-5E05522F252E}"/>
          </ac:spMkLst>
        </pc:spChg>
        <pc:spChg chg="add mod ord">
          <ac:chgData name="Nwokenna, Ola" userId="24fd04f5-1db1-4044-9d5a-a2564da48616" providerId="ADAL" clId="{069E6D5C-44E2-4543-A9E5-23AB25AAE2AA}" dt="2019-05-28T12:40:55.857" v="45736"/>
          <ac:spMkLst>
            <pc:docMk/>
            <pc:sldMk cId="457645839" sldId="642"/>
            <ac:spMk id="93" creationId="{AD8A3B79-36A2-448A-B2F5-BB976C2C2D5F}"/>
          </ac:spMkLst>
        </pc:spChg>
        <pc:spChg chg="add mod ord">
          <ac:chgData name="Nwokenna, Ola" userId="24fd04f5-1db1-4044-9d5a-a2564da48616" providerId="ADAL" clId="{069E6D5C-44E2-4543-A9E5-23AB25AAE2AA}" dt="2019-05-28T12:40:55.858" v="45738"/>
          <ac:spMkLst>
            <pc:docMk/>
            <pc:sldMk cId="457645839" sldId="642"/>
            <ac:spMk id="94" creationId="{FEA6FFEF-8DCB-4A13-B191-0E11B819D245}"/>
          </ac:spMkLst>
        </pc:spChg>
        <pc:spChg chg="add mod ord">
          <ac:chgData name="Nwokenna, Ola" userId="24fd04f5-1db1-4044-9d5a-a2564da48616" providerId="ADAL" clId="{069E6D5C-44E2-4543-A9E5-23AB25AAE2AA}" dt="2019-05-28T12:40:55.849" v="45728"/>
          <ac:spMkLst>
            <pc:docMk/>
            <pc:sldMk cId="457645839" sldId="642"/>
            <ac:spMk id="95" creationId="{13B6E892-72B3-44B3-BAA2-727DB70C419D}"/>
          </ac:spMkLst>
        </pc:spChg>
        <pc:spChg chg="add mod ord">
          <ac:chgData name="Nwokenna, Ola" userId="24fd04f5-1db1-4044-9d5a-a2564da48616" providerId="ADAL" clId="{069E6D5C-44E2-4543-A9E5-23AB25AAE2AA}" dt="2019-05-28T12:40:55.853" v="45732"/>
          <ac:spMkLst>
            <pc:docMk/>
            <pc:sldMk cId="457645839" sldId="642"/>
            <ac:spMk id="96" creationId="{9520FFB5-2979-47D2-ABC6-B1276B269517}"/>
          </ac:spMkLst>
        </pc:spChg>
        <pc:spChg chg="add mod ord">
          <ac:chgData name="Nwokenna, Ola" userId="24fd04f5-1db1-4044-9d5a-a2564da48616" providerId="ADAL" clId="{069E6D5C-44E2-4543-A9E5-23AB25AAE2AA}" dt="2019-05-28T12:40:55.860" v="45740"/>
          <ac:spMkLst>
            <pc:docMk/>
            <pc:sldMk cId="457645839" sldId="642"/>
            <ac:spMk id="97" creationId="{F19BDE94-AF58-4663-A16F-59951B3AEF4B}"/>
          </ac:spMkLst>
        </pc:spChg>
        <pc:spChg chg="add mod ord">
          <ac:chgData name="Nwokenna, Ola" userId="24fd04f5-1db1-4044-9d5a-a2564da48616" providerId="ADAL" clId="{069E6D5C-44E2-4543-A9E5-23AB25AAE2AA}" dt="2019-05-28T12:40:55.862" v="45742"/>
          <ac:spMkLst>
            <pc:docMk/>
            <pc:sldMk cId="457645839" sldId="642"/>
            <ac:spMk id="98" creationId="{DE900651-3941-48C0-8DC6-CF2FCDE1029E}"/>
          </ac:spMkLst>
        </pc:spChg>
        <pc:spChg chg="add mod ord">
          <ac:chgData name="Nwokenna, Ola" userId="24fd04f5-1db1-4044-9d5a-a2564da48616" providerId="ADAL" clId="{069E6D5C-44E2-4543-A9E5-23AB25AAE2AA}" dt="2019-05-28T12:40:55.863" v="45744"/>
          <ac:spMkLst>
            <pc:docMk/>
            <pc:sldMk cId="457645839" sldId="642"/>
            <ac:spMk id="99" creationId="{97E21698-1EE8-4460-8301-F552EA8B8CA1}"/>
          </ac:spMkLst>
        </pc:spChg>
        <pc:spChg chg="add mod">
          <ac:chgData name="Nwokenna, Ola" userId="24fd04f5-1db1-4044-9d5a-a2564da48616" providerId="ADAL" clId="{069E6D5C-44E2-4543-A9E5-23AB25AAE2AA}" dt="2019-05-28T12:41:19.564" v="45779" actId="114"/>
          <ac:spMkLst>
            <pc:docMk/>
            <pc:sldMk cId="457645839" sldId="642"/>
            <ac:spMk id="101" creationId="{CFD62AF7-AF24-453B-B8FF-7F3039894268}"/>
          </ac:spMkLst>
        </pc:spChg>
        <pc:spChg chg="add mod">
          <ac:chgData name="Nwokenna, Ola" userId="24fd04f5-1db1-4044-9d5a-a2564da48616" providerId="ADAL" clId="{069E6D5C-44E2-4543-A9E5-23AB25AAE2AA}" dt="2019-05-28T12:42:21.277" v="45910" actId="1076"/>
          <ac:spMkLst>
            <pc:docMk/>
            <pc:sldMk cId="457645839" sldId="642"/>
            <ac:spMk id="102" creationId="{D8CD0633-8546-4A69-9738-369B8DFD14E1}"/>
          </ac:spMkLst>
        </pc:spChg>
        <pc:graphicFrameChg chg="add mod ord">
          <ac:chgData name="Nwokenna, Ola" userId="24fd04f5-1db1-4044-9d5a-a2564da48616" providerId="ADAL" clId="{069E6D5C-44E2-4543-A9E5-23AB25AAE2AA}" dt="2019-05-28T12:41:51.422" v="45820"/>
          <ac:graphicFrameMkLst>
            <pc:docMk/>
            <pc:sldMk cId="457645839" sldId="642"/>
            <ac:graphicFrameMk id="7" creationId="{2B7C3F27-B3DE-4569-B064-41E733DB1271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2:25:17.337" v="37449"/>
          <ac:graphicFrameMkLst>
            <pc:docMk/>
            <pc:sldMk cId="457645839" sldId="642"/>
            <ac:graphicFrameMk id="13" creationId="{868B6205-A866-487E-8C3A-8024EBACE7B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5:55.477" v="37560"/>
          <ac:graphicFrameMkLst>
            <pc:docMk/>
            <pc:sldMk cId="457645839" sldId="642"/>
            <ac:graphicFrameMk id="28" creationId="{A6B2C338-6331-4FAB-865D-C1543FE09FD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5:59.467" v="37689"/>
          <ac:graphicFrameMkLst>
            <pc:docMk/>
            <pc:sldMk cId="457645839" sldId="642"/>
            <ac:graphicFrameMk id="29" creationId="{8BB86F7F-617B-4B61-A824-2AB7B83B362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00.986" v="37808"/>
          <ac:graphicFrameMkLst>
            <pc:docMk/>
            <pc:sldMk cId="457645839" sldId="642"/>
            <ac:graphicFrameMk id="30" creationId="{B6052031-4C8C-4C53-B170-AE06A2411FE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07.674" v="37923"/>
          <ac:graphicFrameMkLst>
            <pc:docMk/>
            <pc:sldMk cId="457645839" sldId="642"/>
            <ac:graphicFrameMk id="31" creationId="{C7874E8B-C890-4DB4-8D74-1D3D98E31A0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19.061" v="38049"/>
          <ac:graphicFrameMkLst>
            <pc:docMk/>
            <pc:sldMk cId="457645839" sldId="642"/>
            <ac:graphicFrameMk id="32" creationId="{EB8278D0-5A6E-4D2F-9CB1-6716C8C7C72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20.961" v="38206"/>
          <ac:graphicFrameMkLst>
            <pc:docMk/>
            <pc:sldMk cId="457645839" sldId="642"/>
            <ac:graphicFrameMk id="33" creationId="{881B36B8-7344-426F-B193-51DA2B24CA4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23.057" v="38424"/>
          <ac:graphicFrameMkLst>
            <pc:docMk/>
            <pc:sldMk cId="457645839" sldId="642"/>
            <ac:graphicFrameMk id="34" creationId="{AD459F7E-8F40-4793-907A-337513682A1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33.767" v="38571"/>
          <ac:graphicFrameMkLst>
            <pc:docMk/>
            <pc:sldMk cId="457645839" sldId="642"/>
            <ac:graphicFrameMk id="37" creationId="{895D7F99-6364-47DD-A731-23E53D591E9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44.880" v="38663"/>
          <ac:graphicFrameMkLst>
            <pc:docMk/>
            <pc:sldMk cId="457645839" sldId="642"/>
            <ac:graphicFrameMk id="40" creationId="{6526D944-07F4-496A-B892-9FF9ABD3A25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7:47.907" v="38844"/>
          <ac:graphicFrameMkLst>
            <pc:docMk/>
            <pc:sldMk cId="457645839" sldId="642"/>
            <ac:graphicFrameMk id="41" creationId="{27FA950F-EAF2-44EF-97D0-350F867C7B2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7:53.279" v="38916"/>
          <ac:graphicFrameMkLst>
            <pc:docMk/>
            <pc:sldMk cId="457645839" sldId="642"/>
            <ac:graphicFrameMk id="42" creationId="{7882652D-FFF5-4553-8707-AD7091DB0C9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0:09.846" v="39013"/>
          <ac:graphicFrameMkLst>
            <pc:docMk/>
            <pc:sldMk cId="457645839" sldId="642"/>
            <ac:graphicFrameMk id="43" creationId="{ED19D2C4-05B2-48D2-B10C-C357C27A679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0:22.689" v="39080"/>
          <ac:graphicFrameMkLst>
            <pc:docMk/>
            <pc:sldMk cId="457645839" sldId="642"/>
            <ac:graphicFrameMk id="44" creationId="{68F86830-17ED-409D-B1DF-F5EFD94C4A9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0:25.406" v="39143"/>
          <ac:graphicFrameMkLst>
            <pc:docMk/>
            <pc:sldMk cId="457645839" sldId="642"/>
            <ac:graphicFrameMk id="45" creationId="{D8D08D79-DF24-4B16-BDC5-DE6EAC9DEAC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1:38.410" v="39206"/>
          <ac:graphicFrameMkLst>
            <pc:docMk/>
            <pc:sldMk cId="457645839" sldId="642"/>
            <ac:graphicFrameMk id="46" creationId="{4B3FD3E2-ADD2-4EA2-9D4C-02A91B1B85B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1:47.099" v="39269"/>
          <ac:graphicFrameMkLst>
            <pc:docMk/>
            <pc:sldMk cId="457645839" sldId="642"/>
            <ac:graphicFrameMk id="47" creationId="{21A60915-34C5-4B3D-A7BA-851E63FB649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03.464" v="39334"/>
          <ac:graphicFrameMkLst>
            <pc:docMk/>
            <pc:sldMk cId="457645839" sldId="642"/>
            <ac:graphicFrameMk id="48" creationId="{F9D4022D-EB15-489E-AC74-BE36768B628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30.567" v="39402"/>
          <ac:graphicFrameMkLst>
            <pc:docMk/>
            <pc:sldMk cId="457645839" sldId="642"/>
            <ac:graphicFrameMk id="49" creationId="{1808CDE4-EAFF-479D-81CA-6622348F923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32.646" v="39465"/>
          <ac:graphicFrameMkLst>
            <pc:docMk/>
            <pc:sldMk cId="457645839" sldId="642"/>
            <ac:graphicFrameMk id="50" creationId="{3E2533CC-DFA4-465A-91AB-137F195090C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13.157" v="43369"/>
          <ac:graphicFrameMkLst>
            <pc:docMk/>
            <pc:sldMk cId="457645839" sldId="642"/>
            <ac:graphicFrameMk id="51" creationId="{22F3C82C-2E4C-4EE1-96FB-64C79C4464B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16.799" v="43460"/>
          <ac:graphicFrameMkLst>
            <pc:docMk/>
            <pc:sldMk cId="457645839" sldId="642"/>
            <ac:graphicFrameMk id="59" creationId="{09081DEB-338C-419C-AE8F-1328D7C5635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38.899" v="43811"/>
          <ac:graphicFrameMkLst>
            <pc:docMk/>
            <pc:sldMk cId="457645839" sldId="642"/>
            <ac:graphicFrameMk id="60" creationId="{E4BCA0CC-BAE7-436D-B51C-E500CE2C387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54.497" v="43850"/>
          <ac:graphicFrameMkLst>
            <pc:docMk/>
            <pc:sldMk cId="457645839" sldId="642"/>
            <ac:graphicFrameMk id="61" creationId="{FC95D479-FF9A-4F44-AC1B-A66CC708D61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55.223" v="43889"/>
          <ac:graphicFrameMkLst>
            <pc:docMk/>
            <pc:sldMk cId="457645839" sldId="642"/>
            <ac:graphicFrameMk id="62" creationId="{AA5AAC15-62FA-438F-BE99-EA65199BF88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59.811" v="43932"/>
          <ac:graphicFrameMkLst>
            <pc:docMk/>
            <pc:sldMk cId="457645839" sldId="642"/>
            <ac:graphicFrameMk id="63" creationId="{CD3B752E-79E8-4DEA-95B4-EBDD3B12DE8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0.697" v="43971"/>
          <ac:graphicFrameMkLst>
            <pc:docMk/>
            <pc:sldMk cId="457645839" sldId="642"/>
            <ac:graphicFrameMk id="64" creationId="{B667F017-BC29-47ED-8ECB-C04B10AA56E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3.097" v="44014"/>
          <ac:graphicFrameMkLst>
            <pc:docMk/>
            <pc:sldMk cId="457645839" sldId="642"/>
            <ac:graphicFrameMk id="65" creationId="{D38DCA81-280D-42A7-97C5-2F2CFA7897C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4.254" v="44053"/>
          <ac:graphicFrameMkLst>
            <pc:docMk/>
            <pc:sldMk cId="457645839" sldId="642"/>
            <ac:graphicFrameMk id="66" creationId="{99A54902-6D56-488A-95E0-8E5243EDF1A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6.976" v="44092"/>
          <ac:graphicFrameMkLst>
            <pc:docMk/>
            <pc:sldMk cId="457645839" sldId="642"/>
            <ac:graphicFrameMk id="67" creationId="{11137FE3-B171-4A03-8DDD-9E40CD2AD9F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7.599" v="44131"/>
          <ac:graphicFrameMkLst>
            <pc:docMk/>
            <pc:sldMk cId="457645839" sldId="642"/>
            <ac:graphicFrameMk id="68" creationId="{26DC0A3F-0CC8-4933-8E61-CC3F918A47A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8.114" v="44170"/>
          <ac:graphicFrameMkLst>
            <pc:docMk/>
            <pc:sldMk cId="457645839" sldId="642"/>
            <ac:graphicFrameMk id="69" creationId="{F89D1213-BDBC-4752-8164-19445E3DFC7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8.809" v="44209"/>
          <ac:graphicFrameMkLst>
            <pc:docMk/>
            <pc:sldMk cId="457645839" sldId="642"/>
            <ac:graphicFrameMk id="70" creationId="{BE32FA4D-FC72-40F4-9B1D-23DB38DD3E8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0.484" v="44248"/>
          <ac:graphicFrameMkLst>
            <pc:docMk/>
            <pc:sldMk cId="457645839" sldId="642"/>
            <ac:graphicFrameMk id="71" creationId="{91F166FE-D148-4498-B07C-F14427260DD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1.400" v="44287"/>
          <ac:graphicFrameMkLst>
            <pc:docMk/>
            <pc:sldMk cId="457645839" sldId="642"/>
            <ac:graphicFrameMk id="72" creationId="{4D43355D-4885-4934-817A-3B45A6BA4CB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2.327" v="44326"/>
          <ac:graphicFrameMkLst>
            <pc:docMk/>
            <pc:sldMk cId="457645839" sldId="642"/>
            <ac:graphicFrameMk id="73" creationId="{85240587-B90D-46F9-9F16-3DE4E7DD4EB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3.153" v="44365"/>
          <ac:graphicFrameMkLst>
            <pc:docMk/>
            <pc:sldMk cId="457645839" sldId="642"/>
            <ac:graphicFrameMk id="74" creationId="{0769FAA6-4F11-4359-A091-BE1A6A543FC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4.323" v="44404"/>
          <ac:graphicFrameMkLst>
            <pc:docMk/>
            <pc:sldMk cId="457645839" sldId="642"/>
            <ac:graphicFrameMk id="75" creationId="{C26601FE-37C2-4E4D-BC7D-04ECC45E653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5.112" v="44443"/>
          <ac:graphicFrameMkLst>
            <pc:docMk/>
            <pc:sldMk cId="457645839" sldId="642"/>
            <ac:graphicFrameMk id="76" creationId="{E20B6DDE-2260-4EA8-9EC5-719791ACE0C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8.027" v="44482"/>
          <ac:graphicFrameMkLst>
            <pc:docMk/>
            <pc:sldMk cId="457645839" sldId="642"/>
            <ac:graphicFrameMk id="77" creationId="{2286C803-94E6-4C80-A2B3-BB48D2C287D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20.331" v="44521"/>
          <ac:graphicFrameMkLst>
            <pc:docMk/>
            <pc:sldMk cId="457645839" sldId="642"/>
            <ac:graphicFrameMk id="78" creationId="{40B24A90-9636-4A50-AB05-1E659B6184A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28.415" v="44564"/>
          <ac:graphicFrameMkLst>
            <pc:docMk/>
            <pc:sldMk cId="457645839" sldId="642"/>
            <ac:graphicFrameMk id="79" creationId="{D984E7FB-8DE9-45AD-B121-C6C61B97D56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32.504" v="44627"/>
          <ac:graphicFrameMkLst>
            <pc:docMk/>
            <pc:sldMk cId="457645839" sldId="642"/>
            <ac:graphicFrameMk id="80" creationId="{C19A3B85-A18D-42B7-8952-52124978C29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36.349" v="44678"/>
          <ac:graphicFrameMkLst>
            <pc:docMk/>
            <pc:sldMk cId="457645839" sldId="642"/>
            <ac:graphicFrameMk id="81" creationId="{02CBA3A7-4275-438D-B97C-F15D7320410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41.857" v="44717"/>
          <ac:graphicFrameMkLst>
            <pc:docMk/>
            <pc:sldMk cId="457645839" sldId="642"/>
            <ac:graphicFrameMk id="82" creationId="{90C8F93D-A5A5-4ADE-9FB1-F81D758A262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43.407" v="44758"/>
          <ac:graphicFrameMkLst>
            <pc:docMk/>
            <pc:sldMk cId="457645839" sldId="642"/>
            <ac:graphicFrameMk id="83" creationId="{BEE32244-0E57-4677-8B65-BFDAACBF56B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0:01.395" v="44797"/>
          <ac:graphicFrameMkLst>
            <pc:docMk/>
            <pc:sldMk cId="457645839" sldId="642"/>
            <ac:graphicFrameMk id="84" creationId="{A7C6EC48-B2C7-408C-A1C6-DC518CDA6E6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0:09.951" v="44836"/>
          <ac:graphicFrameMkLst>
            <pc:docMk/>
            <pc:sldMk cId="457645839" sldId="642"/>
            <ac:graphicFrameMk id="85" creationId="{1928E2E7-06E9-4A1F-9F67-8E454CE9EB4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0:19.692" v="44875"/>
          <ac:graphicFrameMkLst>
            <pc:docMk/>
            <pc:sldMk cId="457645839" sldId="642"/>
            <ac:graphicFrameMk id="86" creationId="{90D60928-AB48-4EFF-AAA0-6AB7699917F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0:40.780" v="44918"/>
          <ac:graphicFrameMkLst>
            <pc:docMk/>
            <pc:sldMk cId="457645839" sldId="642"/>
            <ac:graphicFrameMk id="87" creationId="{A6C9EFCE-37DE-45EF-90A4-19A3D85E8CC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0:55.762" v="45691"/>
          <ac:graphicFrameMkLst>
            <pc:docMk/>
            <pc:sldMk cId="457645839" sldId="642"/>
            <ac:graphicFrameMk id="88" creationId="{9EC2EA29-BF79-4472-B3A6-9B1B2C76FFEF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40:55.843" v="45722"/>
          <ac:graphicFrameMkLst>
            <pc:docMk/>
            <pc:sldMk cId="457645839" sldId="642"/>
            <ac:graphicFrameMk id="100" creationId="{F9B180F1-EF11-4D93-834B-5E4990357F0C}"/>
          </ac:graphicFrameMkLst>
        </pc:graphicFrameChg>
      </pc:sldChg>
      <pc:sldChg chg="addSp delSp modSp add ord">
        <pc:chgData name="Nwokenna, Ola" userId="24fd04f5-1db1-4044-9d5a-a2564da48616" providerId="ADAL" clId="{069E6D5C-44E2-4543-A9E5-23AB25AAE2AA}" dt="2019-05-28T12:41:48.613" v="45804"/>
        <pc:sldMkLst>
          <pc:docMk/>
          <pc:sldMk cId="233754009" sldId="643"/>
        </pc:sldMkLst>
        <pc:spChg chg="mod ord">
          <ac:chgData name="Nwokenna, Ola" userId="24fd04f5-1db1-4044-9d5a-a2564da48616" providerId="ADAL" clId="{069E6D5C-44E2-4543-A9E5-23AB25AAE2AA}" dt="2019-05-28T12:41:48.035" v="45789" actId="20577"/>
          <ac:spMkLst>
            <pc:docMk/>
            <pc:sldMk cId="233754009" sldId="643"/>
            <ac:spMk id="2" creationId="{F050F1DF-B1B3-4462-BBB7-EB0B42A7DF9F}"/>
          </ac:spMkLst>
        </pc:spChg>
        <pc:spChg chg="del mod ord">
          <ac:chgData name="Nwokenna, Ola" userId="24fd04f5-1db1-4044-9d5a-a2564da48616" providerId="ADAL" clId="{069E6D5C-44E2-4543-A9E5-23AB25AAE2AA}" dt="2019-05-28T12:38:21.364" v="43504" actId="478"/>
          <ac:spMkLst>
            <pc:docMk/>
            <pc:sldMk cId="233754009" sldId="643"/>
            <ac:spMk id="3" creationId="{EC012F16-3913-43A6-B275-B726A6D123D4}"/>
          </ac:spMkLst>
        </pc:spChg>
        <pc:spChg chg="mod ord">
          <ac:chgData name="Nwokenna, Ola" userId="24fd04f5-1db1-4044-9d5a-a2564da48616" providerId="ADAL" clId="{069E6D5C-44E2-4543-A9E5-23AB25AAE2AA}" dt="2019-05-28T12:38:25.567" v="43745"/>
          <ac:spMkLst>
            <pc:docMk/>
            <pc:sldMk cId="233754009" sldId="643"/>
            <ac:spMk id="4" creationId="{27D7A7F4-8A56-4FC8-94B9-B1DA23CC3671}"/>
          </ac:spMkLst>
        </pc:spChg>
        <pc:spChg chg="mod ord">
          <ac:chgData name="Nwokenna, Ola" userId="24fd04f5-1db1-4044-9d5a-a2564da48616" providerId="ADAL" clId="{069E6D5C-44E2-4543-A9E5-23AB25AAE2AA}" dt="2019-05-28T12:41:41.509" v="45788" actId="20577"/>
          <ac:spMkLst>
            <pc:docMk/>
            <pc:sldMk cId="233754009" sldId="643"/>
            <ac:spMk id="5" creationId="{275CE4F0-66C2-4184-82CA-FB2D4E9EC65A}"/>
          </ac:spMkLst>
        </pc:spChg>
        <pc:spChg chg="add mod ord">
          <ac:chgData name="Nwokenna, Ola" userId="24fd04f5-1db1-4044-9d5a-a2564da48616" providerId="ADAL" clId="{069E6D5C-44E2-4543-A9E5-23AB25AAE2AA}" dt="2019-05-28T12:41:48.584" v="45802" actId="6549"/>
          <ac:spMkLst>
            <pc:docMk/>
            <pc:sldMk cId="233754009" sldId="643"/>
            <ac:spMk id="6" creationId="{57BEA337-ADFC-49C3-8B3F-266C4F18CD1C}"/>
          </ac:spMkLst>
        </pc:spChg>
        <pc:spChg chg="add mod ord">
          <ac:chgData name="Nwokenna, Ola" userId="24fd04f5-1db1-4044-9d5a-a2564da48616" providerId="ADAL" clId="{069E6D5C-44E2-4543-A9E5-23AB25AAE2AA}" dt="2019-05-28T12:38:25.571" v="43749"/>
          <ac:spMkLst>
            <pc:docMk/>
            <pc:sldMk cId="233754009" sldId="643"/>
            <ac:spMk id="8" creationId="{7B9D00CE-BDEF-4494-BE1D-F659CA62CB79}"/>
          </ac:spMkLst>
        </pc:spChg>
        <pc:spChg chg="add mod ord">
          <ac:chgData name="Nwokenna, Ola" userId="24fd04f5-1db1-4044-9d5a-a2564da48616" providerId="ADAL" clId="{069E6D5C-44E2-4543-A9E5-23AB25AAE2AA}" dt="2019-05-28T12:38:25.579" v="43758"/>
          <ac:spMkLst>
            <pc:docMk/>
            <pc:sldMk cId="233754009" sldId="643"/>
            <ac:spMk id="10" creationId="{0E6FAD91-A665-4E28-9173-80665B3668BB}"/>
          </ac:spMkLst>
        </pc:spChg>
        <pc:spChg chg="add mod ord">
          <ac:chgData name="Nwokenna, Ola" userId="24fd04f5-1db1-4044-9d5a-a2564da48616" providerId="ADAL" clId="{069E6D5C-44E2-4543-A9E5-23AB25AAE2AA}" dt="2019-05-28T12:38:25.576" v="43754"/>
          <ac:spMkLst>
            <pc:docMk/>
            <pc:sldMk cId="233754009" sldId="643"/>
            <ac:spMk id="11" creationId="{C8A6A0A1-AA11-4759-839A-B845769DF242}"/>
          </ac:spMkLst>
        </pc:spChg>
        <pc:spChg chg="add mod ord">
          <ac:chgData name="Nwokenna, Ola" userId="24fd04f5-1db1-4044-9d5a-a2564da48616" providerId="ADAL" clId="{069E6D5C-44E2-4543-A9E5-23AB25AAE2AA}" dt="2019-05-28T12:38:25.580" v="43760"/>
          <ac:spMkLst>
            <pc:docMk/>
            <pc:sldMk cId="233754009" sldId="643"/>
            <ac:spMk id="12" creationId="{F5F4726F-BAF1-4067-9A95-9ED115FF0848}"/>
          </ac:spMkLst>
        </pc:spChg>
        <pc:spChg chg="add mod ord">
          <ac:chgData name="Nwokenna, Ola" userId="24fd04f5-1db1-4044-9d5a-a2564da48616" providerId="ADAL" clId="{069E6D5C-44E2-4543-A9E5-23AB25AAE2AA}" dt="2019-05-28T12:38:25.574" v="43752"/>
          <ac:spMkLst>
            <pc:docMk/>
            <pc:sldMk cId="233754009" sldId="643"/>
            <ac:spMk id="13" creationId="{69E2F5D7-5A4A-4193-A45F-0354BF6F3B66}"/>
          </ac:spMkLst>
        </pc:spChg>
        <pc:spChg chg="add mod ord">
          <ac:chgData name="Nwokenna, Ola" userId="24fd04f5-1db1-4044-9d5a-a2564da48616" providerId="ADAL" clId="{069E6D5C-44E2-4543-A9E5-23AB25AAE2AA}" dt="2019-05-28T12:38:25.577" v="43756"/>
          <ac:spMkLst>
            <pc:docMk/>
            <pc:sldMk cId="233754009" sldId="643"/>
            <ac:spMk id="14" creationId="{1A6C52AC-FE91-4B80-A8A7-5890F0A1D97D}"/>
          </ac:spMkLst>
        </pc:spChg>
        <pc:spChg chg="add mod ord">
          <ac:chgData name="Nwokenna, Ola" userId="24fd04f5-1db1-4044-9d5a-a2564da48616" providerId="ADAL" clId="{069E6D5C-44E2-4543-A9E5-23AB25AAE2AA}" dt="2019-05-28T12:38:25.582" v="43762"/>
          <ac:spMkLst>
            <pc:docMk/>
            <pc:sldMk cId="233754009" sldId="643"/>
            <ac:spMk id="15" creationId="{741A5839-ACFB-4F8B-AA73-73066A84ACA2}"/>
          </ac:spMkLst>
        </pc:spChg>
        <pc:spChg chg="add mod ord">
          <ac:chgData name="Nwokenna, Ola" userId="24fd04f5-1db1-4044-9d5a-a2564da48616" providerId="ADAL" clId="{069E6D5C-44E2-4543-A9E5-23AB25AAE2AA}" dt="2019-05-28T12:38:25.588" v="43770"/>
          <ac:spMkLst>
            <pc:docMk/>
            <pc:sldMk cId="233754009" sldId="643"/>
            <ac:spMk id="16" creationId="{D4CD6260-4E4A-479C-A806-524DF33325CE}"/>
          </ac:spMkLst>
        </pc:spChg>
        <pc:spChg chg="add mod ord">
          <ac:chgData name="Nwokenna, Ola" userId="24fd04f5-1db1-4044-9d5a-a2564da48616" providerId="ADAL" clId="{069E6D5C-44E2-4543-A9E5-23AB25AAE2AA}" dt="2019-05-28T12:38:25.587" v="43768"/>
          <ac:spMkLst>
            <pc:docMk/>
            <pc:sldMk cId="233754009" sldId="643"/>
            <ac:spMk id="17" creationId="{5A2F4B9E-E464-4CC4-8B90-6A63F8979A7A}"/>
          </ac:spMkLst>
        </pc:spChg>
        <pc:spChg chg="add mod ord">
          <ac:chgData name="Nwokenna, Ola" userId="24fd04f5-1db1-4044-9d5a-a2564da48616" providerId="ADAL" clId="{069E6D5C-44E2-4543-A9E5-23AB25AAE2AA}" dt="2019-05-28T12:38:25.584" v="43764"/>
          <ac:spMkLst>
            <pc:docMk/>
            <pc:sldMk cId="233754009" sldId="643"/>
            <ac:spMk id="18" creationId="{BC74D3CF-DBC7-490B-B531-F17C00A849EC}"/>
          </ac:spMkLst>
        </pc:spChg>
        <pc:spChg chg="add mod ord">
          <ac:chgData name="Nwokenna, Ola" userId="24fd04f5-1db1-4044-9d5a-a2564da48616" providerId="ADAL" clId="{069E6D5C-44E2-4543-A9E5-23AB25AAE2AA}" dt="2019-05-28T12:38:25.585" v="43766"/>
          <ac:spMkLst>
            <pc:docMk/>
            <pc:sldMk cId="233754009" sldId="643"/>
            <ac:spMk id="19" creationId="{AA5A36D3-C046-4B0F-A6BD-AB12326343B0}"/>
          </ac:spMkLst>
        </pc:spChg>
        <pc:graphicFrameChg chg="add mod ord">
          <ac:chgData name="Nwokenna, Ola" userId="24fd04f5-1db1-4044-9d5a-a2564da48616" providerId="ADAL" clId="{069E6D5C-44E2-4543-A9E5-23AB25AAE2AA}" dt="2019-05-28T12:41:48.613" v="45804"/>
          <ac:graphicFrameMkLst>
            <pc:docMk/>
            <pc:sldMk cId="233754009" sldId="643"/>
            <ac:graphicFrameMk id="7" creationId="{99E9314C-6513-4C86-ACB4-5E185711F6E0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2:38:22.541" v="43624"/>
          <ac:graphicFrameMkLst>
            <pc:docMk/>
            <pc:sldMk cId="233754009" sldId="643"/>
            <ac:graphicFrameMk id="9" creationId="{BF760EDA-9C20-420B-8D91-501F870E05C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25.457" v="43689"/>
          <ac:graphicFrameMkLst>
            <pc:docMk/>
            <pc:sldMk cId="233754009" sldId="643"/>
            <ac:graphicFrameMk id="20" creationId="{C8709D35-B80F-4479-8224-963D1E7B7978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38:25.573" v="43750"/>
          <ac:graphicFrameMkLst>
            <pc:docMk/>
            <pc:sldMk cId="233754009" sldId="643"/>
            <ac:graphicFrameMk id="21" creationId="{45AF170D-E350-4E16-AF96-D552DE76C6C5}"/>
          </ac:graphicFrameMkLst>
        </pc:graphicFrameChg>
      </pc:sldChg>
      <pc:sldChg chg="addSp delSp modSp add">
        <pc:chgData name="Nwokenna, Ola" userId="24fd04f5-1db1-4044-9d5a-a2564da48616" providerId="ADAL" clId="{069E6D5C-44E2-4543-A9E5-23AB25AAE2AA}" dt="2019-05-28T12:48:00.331" v="49922"/>
        <pc:sldMkLst>
          <pc:docMk/>
          <pc:sldMk cId="2617353030" sldId="644"/>
        </pc:sldMkLst>
        <pc:spChg chg="mod ord">
          <ac:chgData name="Nwokenna, Ola" userId="24fd04f5-1db1-4044-9d5a-a2564da48616" providerId="ADAL" clId="{069E6D5C-44E2-4543-A9E5-23AB25AAE2AA}" dt="2019-05-28T12:48:00.230" v="49869"/>
          <ac:spMkLst>
            <pc:docMk/>
            <pc:sldMk cId="2617353030" sldId="644"/>
            <ac:spMk id="2" creationId="{F050F1DF-B1B3-4462-BBB7-EB0B42A7DF9F}"/>
          </ac:spMkLst>
        </pc:spChg>
        <pc:spChg chg="del">
          <ac:chgData name="Nwokenna, Ola" userId="24fd04f5-1db1-4044-9d5a-a2564da48616" providerId="ADAL" clId="{069E6D5C-44E2-4543-A9E5-23AB25AAE2AA}" dt="2019-05-28T12:43:49.450" v="45914" actId="478"/>
          <ac:spMkLst>
            <pc:docMk/>
            <pc:sldMk cId="2617353030" sldId="644"/>
            <ac:spMk id="3" creationId="{EC012F16-3913-43A6-B275-B726A6D123D4}"/>
          </ac:spMkLst>
        </pc:spChg>
        <pc:spChg chg="mod ord">
          <ac:chgData name="Nwokenna, Ola" userId="24fd04f5-1db1-4044-9d5a-a2564da48616" providerId="ADAL" clId="{069E6D5C-44E2-4543-A9E5-23AB25AAE2AA}" dt="2019-05-28T12:48:00.233" v="49871"/>
          <ac:spMkLst>
            <pc:docMk/>
            <pc:sldMk cId="2617353030" sldId="644"/>
            <ac:spMk id="4" creationId="{27D7A7F4-8A56-4FC8-94B9-B1DA23CC3671}"/>
          </ac:spMkLst>
        </pc:spChg>
        <pc:spChg chg="mod ord">
          <ac:chgData name="Nwokenna, Ola" userId="24fd04f5-1db1-4044-9d5a-a2564da48616" providerId="ADAL" clId="{069E6D5C-44E2-4543-A9E5-23AB25AAE2AA}" dt="2019-05-28T12:48:00.236" v="49873"/>
          <ac:spMkLst>
            <pc:docMk/>
            <pc:sldMk cId="2617353030" sldId="644"/>
            <ac:spMk id="5" creationId="{275CE4F0-66C2-4184-82CA-FB2D4E9EC65A}"/>
          </ac:spMkLst>
        </pc:spChg>
        <pc:spChg chg="mod ord">
          <ac:chgData name="Nwokenna, Ola" userId="24fd04f5-1db1-4044-9d5a-a2564da48616" providerId="ADAL" clId="{069E6D5C-44E2-4543-A9E5-23AB25AAE2AA}" dt="2019-05-28T12:48:00.228" v="49867"/>
          <ac:spMkLst>
            <pc:docMk/>
            <pc:sldMk cId="2617353030" sldId="644"/>
            <ac:spMk id="6" creationId="{57BEA337-ADFC-49C3-8B3F-266C4F18CD1C}"/>
          </ac:spMkLst>
        </pc:spChg>
        <pc:spChg chg="add del mod ord">
          <ac:chgData name="Nwokenna, Ola" userId="24fd04f5-1db1-4044-9d5a-a2564da48616" providerId="ADAL" clId="{069E6D5C-44E2-4543-A9E5-23AB25AAE2AA}" dt="2019-05-28T12:48:00.241" v="49876"/>
          <ac:spMkLst>
            <pc:docMk/>
            <pc:sldMk cId="2617353030" sldId="644"/>
            <ac:spMk id="9" creationId="{B0C76624-351D-4D2F-B9D5-60B8D426EED0}"/>
          </ac:spMkLst>
        </pc:spChg>
        <pc:spChg chg="add del mod ord">
          <ac:chgData name="Nwokenna, Ola" userId="24fd04f5-1db1-4044-9d5a-a2564da48616" providerId="ADAL" clId="{069E6D5C-44E2-4543-A9E5-23AB25AAE2AA}" dt="2019-05-28T12:48:00.246" v="49880"/>
          <ac:spMkLst>
            <pc:docMk/>
            <pc:sldMk cId="2617353030" sldId="644"/>
            <ac:spMk id="10" creationId="{C084A1C6-9257-46EF-8620-7FA180A54F16}"/>
          </ac:spMkLst>
        </pc:spChg>
        <pc:spChg chg="add del mod ord">
          <ac:chgData name="Nwokenna, Ola" userId="24fd04f5-1db1-4044-9d5a-a2564da48616" providerId="ADAL" clId="{069E6D5C-44E2-4543-A9E5-23AB25AAE2AA}" dt="2019-05-28T12:48:00.252" v="49884"/>
          <ac:spMkLst>
            <pc:docMk/>
            <pc:sldMk cId="2617353030" sldId="644"/>
            <ac:spMk id="11" creationId="{9E073AB3-68D9-4D4B-9FB8-3EA64FE6A144}"/>
          </ac:spMkLst>
        </pc:spChg>
        <pc:spChg chg="add del mod ord">
          <ac:chgData name="Nwokenna, Ola" userId="24fd04f5-1db1-4044-9d5a-a2564da48616" providerId="ADAL" clId="{069E6D5C-44E2-4543-A9E5-23AB25AAE2AA}" dt="2019-05-28T12:48:00.249" v="49882"/>
          <ac:spMkLst>
            <pc:docMk/>
            <pc:sldMk cId="2617353030" sldId="644"/>
            <ac:spMk id="12" creationId="{C0F67DA0-AE32-4A91-9864-65DAF61EB2A8}"/>
          </ac:spMkLst>
        </pc:spChg>
        <pc:spChg chg="add del mod ord">
          <ac:chgData name="Nwokenna, Ola" userId="24fd04f5-1db1-4044-9d5a-a2564da48616" providerId="ADAL" clId="{069E6D5C-44E2-4543-A9E5-23AB25AAE2AA}" dt="2019-05-28T12:48:00.244" v="49878"/>
          <ac:spMkLst>
            <pc:docMk/>
            <pc:sldMk cId="2617353030" sldId="644"/>
            <ac:spMk id="13" creationId="{C4716FB8-98F1-441B-BC0A-2BF595C6B11E}"/>
          </ac:spMkLst>
        </pc:spChg>
        <pc:spChg chg="add del mod ord">
          <ac:chgData name="Nwokenna, Ola" userId="24fd04f5-1db1-4044-9d5a-a2564da48616" providerId="ADAL" clId="{069E6D5C-44E2-4543-A9E5-23AB25AAE2AA}" dt="2019-05-28T12:48:00.254" v="49886"/>
          <ac:spMkLst>
            <pc:docMk/>
            <pc:sldMk cId="2617353030" sldId="644"/>
            <ac:spMk id="14" creationId="{A3120FD0-2EEB-4834-B3D7-690E6193EE20}"/>
          </ac:spMkLst>
        </pc:spChg>
        <pc:spChg chg="add del mod ord">
          <ac:chgData name="Nwokenna, Ola" userId="24fd04f5-1db1-4044-9d5a-a2564da48616" providerId="ADAL" clId="{069E6D5C-44E2-4543-A9E5-23AB25AAE2AA}" dt="2019-05-28T12:48:00.256" v="49888"/>
          <ac:spMkLst>
            <pc:docMk/>
            <pc:sldMk cId="2617353030" sldId="644"/>
            <ac:spMk id="15" creationId="{09ECA0BB-EE3B-47E0-A543-8034C5DAB559}"/>
          </ac:spMkLst>
        </pc:spChg>
        <pc:spChg chg="add del mod ord">
          <ac:chgData name="Nwokenna, Ola" userId="24fd04f5-1db1-4044-9d5a-a2564da48616" providerId="ADAL" clId="{069E6D5C-44E2-4543-A9E5-23AB25AAE2AA}" dt="2019-05-28T12:48:00.260" v="49890"/>
          <ac:spMkLst>
            <pc:docMk/>
            <pc:sldMk cId="2617353030" sldId="644"/>
            <ac:spMk id="16" creationId="{5EF7237D-D2BA-487B-8E24-715BC58B30EC}"/>
          </ac:spMkLst>
        </pc:spChg>
        <pc:spChg chg="add del mod ord">
          <ac:chgData name="Nwokenna, Ola" userId="24fd04f5-1db1-4044-9d5a-a2564da48616" providerId="ADAL" clId="{069E6D5C-44E2-4543-A9E5-23AB25AAE2AA}" dt="2019-05-28T12:48:00.263" v="49892"/>
          <ac:spMkLst>
            <pc:docMk/>
            <pc:sldMk cId="2617353030" sldId="644"/>
            <ac:spMk id="17" creationId="{E97247C6-43E5-45A5-91C3-B7E450063717}"/>
          </ac:spMkLst>
        </pc:spChg>
        <pc:spChg chg="add del mod ord">
          <ac:chgData name="Nwokenna, Ola" userId="24fd04f5-1db1-4044-9d5a-a2564da48616" providerId="ADAL" clId="{069E6D5C-44E2-4543-A9E5-23AB25AAE2AA}" dt="2019-05-28T12:47:13.133" v="48890"/>
          <ac:spMkLst>
            <pc:docMk/>
            <pc:sldMk cId="2617353030" sldId="644"/>
            <ac:spMk id="18" creationId="{74E1C9DC-62C8-4A66-ADCC-2FFE0CA775AD}"/>
          </ac:spMkLst>
        </pc:spChg>
        <pc:spChg chg="add del mod ord">
          <ac:chgData name="Nwokenna, Ola" userId="24fd04f5-1db1-4044-9d5a-a2564da48616" providerId="ADAL" clId="{069E6D5C-44E2-4543-A9E5-23AB25AAE2AA}" dt="2019-05-28T12:48:00.276" v="49900"/>
          <ac:spMkLst>
            <pc:docMk/>
            <pc:sldMk cId="2617353030" sldId="644"/>
            <ac:spMk id="19" creationId="{F8B94BD2-767A-4D02-8166-432B9282E463}"/>
          </ac:spMkLst>
        </pc:spChg>
        <pc:spChg chg="add del mod ord">
          <ac:chgData name="Nwokenna, Ola" userId="24fd04f5-1db1-4044-9d5a-a2564da48616" providerId="ADAL" clId="{069E6D5C-44E2-4543-A9E5-23AB25AAE2AA}" dt="2019-05-28T12:48:00.265" v="49894"/>
          <ac:spMkLst>
            <pc:docMk/>
            <pc:sldMk cId="2617353030" sldId="644"/>
            <ac:spMk id="20" creationId="{DF9A6487-1C81-4117-A460-AAC634ACFF04}"/>
          </ac:spMkLst>
        </pc:spChg>
        <pc:spChg chg="add del mod ord">
          <ac:chgData name="Nwokenna, Ola" userId="24fd04f5-1db1-4044-9d5a-a2564da48616" providerId="ADAL" clId="{069E6D5C-44E2-4543-A9E5-23AB25AAE2AA}" dt="2019-05-28T12:48:00.271" v="49898"/>
          <ac:spMkLst>
            <pc:docMk/>
            <pc:sldMk cId="2617353030" sldId="644"/>
            <ac:spMk id="21" creationId="{BA7CF2F8-BCCE-4285-9854-76398BD4973B}"/>
          </ac:spMkLst>
        </pc:spChg>
        <pc:spChg chg="add del mod ord">
          <ac:chgData name="Nwokenna, Ola" userId="24fd04f5-1db1-4044-9d5a-a2564da48616" providerId="ADAL" clId="{069E6D5C-44E2-4543-A9E5-23AB25AAE2AA}" dt="2019-05-28T12:48:00.268" v="49896"/>
          <ac:spMkLst>
            <pc:docMk/>
            <pc:sldMk cId="2617353030" sldId="644"/>
            <ac:spMk id="22" creationId="{B7DE6C38-6BC3-46DD-A1B0-4CF2A8069585}"/>
          </ac:spMkLst>
        </pc:spChg>
        <pc:spChg chg="add del mod ord">
          <ac:chgData name="Nwokenna, Ola" userId="24fd04f5-1db1-4044-9d5a-a2564da48616" providerId="ADAL" clId="{069E6D5C-44E2-4543-A9E5-23AB25AAE2AA}" dt="2019-05-28T12:48:00.279" v="49902"/>
          <ac:spMkLst>
            <pc:docMk/>
            <pc:sldMk cId="2617353030" sldId="644"/>
            <ac:spMk id="23" creationId="{2912F70D-E252-47A1-8BF5-5D1EDA2E6A9A}"/>
          </ac:spMkLst>
        </pc:spChg>
        <pc:spChg chg="add del mod ord">
          <ac:chgData name="Nwokenna, Ola" userId="24fd04f5-1db1-4044-9d5a-a2564da48616" providerId="ADAL" clId="{069E6D5C-44E2-4543-A9E5-23AB25AAE2AA}" dt="2019-05-28T12:48:00.282" v="49904"/>
          <ac:spMkLst>
            <pc:docMk/>
            <pc:sldMk cId="2617353030" sldId="644"/>
            <ac:spMk id="24" creationId="{6A9AC391-18B8-4CBF-9DF8-C06614564F39}"/>
          </ac:spMkLst>
        </pc:spChg>
        <pc:spChg chg="add del mod ord">
          <ac:chgData name="Nwokenna, Ola" userId="24fd04f5-1db1-4044-9d5a-a2564da48616" providerId="ADAL" clId="{069E6D5C-44E2-4543-A9E5-23AB25AAE2AA}" dt="2019-05-28T12:48:00.287" v="49908"/>
          <ac:spMkLst>
            <pc:docMk/>
            <pc:sldMk cId="2617353030" sldId="644"/>
            <ac:spMk id="25" creationId="{4553CA82-2BC6-4EBA-A348-39FE10443A95}"/>
          </ac:spMkLst>
        </pc:spChg>
        <pc:spChg chg="add del mod ord">
          <ac:chgData name="Nwokenna, Ola" userId="24fd04f5-1db1-4044-9d5a-a2564da48616" providerId="ADAL" clId="{069E6D5C-44E2-4543-A9E5-23AB25AAE2AA}" dt="2019-05-28T12:48:00.289" v="49910"/>
          <ac:spMkLst>
            <pc:docMk/>
            <pc:sldMk cId="2617353030" sldId="644"/>
            <ac:spMk id="26" creationId="{8C16DC83-FA71-4088-AA74-1358CD276D3B}"/>
          </ac:spMkLst>
        </pc:spChg>
        <pc:spChg chg="add del mod ord">
          <ac:chgData name="Nwokenna, Ola" userId="24fd04f5-1db1-4044-9d5a-a2564da48616" providerId="ADAL" clId="{069E6D5C-44E2-4543-A9E5-23AB25AAE2AA}" dt="2019-05-28T12:48:00.285" v="49906"/>
          <ac:spMkLst>
            <pc:docMk/>
            <pc:sldMk cId="2617353030" sldId="644"/>
            <ac:spMk id="27" creationId="{FD8D39C7-9534-4729-AE73-D5E0FD820497}"/>
          </ac:spMkLst>
        </pc:spChg>
        <pc:spChg chg="add del mod ord">
          <ac:chgData name="Nwokenna, Ola" userId="24fd04f5-1db1-4044-9d5a-a2564da48616" providerId="ADAL" clId="{069E6D5C-44E2-4543-A9E5-23AB25AAE2AA}" dt="2019-05-28T12:48:00.293" v="49912"/>
          <ac:spMkLst>
            <pc:docMk/>
            <pc:sldMk cId="2617353030" sldId="644"/>
            <ac:spMk id="28" creationId="{9921AA35-5541-4857-A2D4-FD6F3A0B42DA}"/>
          </ac:spMkLst>
        </pc:spChg>
        <pc:spChg chg="add mod ord">
          <ac:chgData name="Nwokenna, Ola" userId="24fd04f5-1db1-4044-9d5a-a2564da48616" providerId="ADAL" clId="{069E6D5C-44E2-4543-A9E5-23AB25AAE2AA}" dt="2019-05-28T12:48:00.295" v="49914"/>
          <ac:spMkLst>
            <pc:docMk/>
            <pc:sldMk cId="2617353030" sldId="644"/>
            <ac:spMk id="29" creationId="{C2F6E5C7-1490-4ED1-8DA3-88C632CDBDE1}"/>
          </ac:spMkLst>
        </pc:spChg>
        <pc:spChg chg="add mod ord">
          <ac:chgData name="Nwokenna, Ola" userId="24fd04f5-1db1-4044-9d5a-a2564da48616" providerId="ADAL" clId="{069E6D5C-44E2-4543-A9E5-23AB25AAE2AA}" dt="2019-05-28T12:48:00.298" v="49916"/>
          <ac:spMkLst>
            <pc:docMk/>
            <pc:sldMk cId="2617353030" sldId="644"/>
            <ac:spMk id="30" creationId="{8B8E95DA-5EC2-4CBF-9E61-AAC5E6A8864C}"/>
          </ac:spMkLst>
        </pc:spChg>
        <pc:spChg chg="add mod ord">
          <ac:chgData name="Nwokenna, Ola" userId="24fd04f5-1db1-4044-9d5a-a2564da48616" providerId="ADAL" clId="{069E6D5C-44E2-4543-A9E5-23AB25AAE2AA}" dt="2019-05-28T12:48:00.300" v="49918"/>
          <ac:spMkLst>
            <pc:docMk/>
            <pc:sldMk cId="2617353030" sldId="644"/>
            <ac:spMk id="31" creationId="{F0B558E2-7284-4548-80B2-C69D588AECB9}"/>
          </ac:spMkLst>
        </pc:spChg>
        <pc:spChg chg="add mod ord">
          <ac:chgData name="Nwokenna, Ola" userId="24fd04f5-1db1-4044-9d5a-a2564da48616" providerId="ADAL" clId="{069E6D5C-44E2-4543-A9E5-23AB25AAE2AA}" dt="2019-05-28T12:48:00.302" v="49920"/>
          <ac:spMkLst>
            <pc:docMk/>
            <pc:sldMk cId="2617353030" sldId="644"/>
            <ac:spMk id="32" creationId="{46DA03D0-2F4A-4BB1-8BD0-8DC04461F4EC}"/>
          </ac:spMkLst>
        </pc:spChg>
        <pc:spChg chg="add del mod ord">
          <ac:chgData name="Nwokenna, Ola" userId="24fd04f5-1db1-4044-9d5a-a2564da48616" providerId="ADAL" clId="{069E6D5C-44E2-4543-A9E5-23AB25AAE2AA}" dt="2019-05-28T12:46:19.193" v="47702"/>
          <ac:spMkLst>
            <pc:docMk/>
            <pc:sldMk cId="2617353030" sldId="644"/>
            <ac:spMk id="37" creationId="{659D7778-7976-42E1-A1DB-CA9C01277820}"/>
          </ac:spMkLst>
        </pc:spChg>
        <pc:spChg chg="add del mod ord">
          <ac:chgData name="Nwokenna, Ola" userId="24fd04f5-1db1-4044-9d5a-a2564da48616" providerId="ADAL" clId="{069E6D5C-44E2-4543-A9E5-23AB25AAE2AA}" dt="2019-05-28T12:46:19.199" v="47706"/>
          <ac:spMkLst>
            <pc:docMk/>
            <pc:sldMk cId="2617353030" sldId="644"/>
            <ac:spMk id="38" creationId="{B40329CF-F96E-4406-883F-7880484442F2}"/>
          </ac:spMkLst>
        </pc:spChg>
        <pc:spChg chg="add del mod ord">
          <ac:chgData name="Nwokenna, Ola" userId="24fd04f5-1db1-4044-9d5a-a2564da48616" providerId="ADAL" clId="{069E6D5C-44E2-4543-A9E5-23AB25AAE2AA}" dt="2019-05-28T12:46:19.206" v="47710"/>
          <ac:spMkLst>
            <pc:docMk/>
            <pc:sldMk cId="2617353030" sldId="644"/>
            <ac:spMk id="39" creationId="{8E22BD8F-A1BC-4442-B62B-D8E939170DAB}"/>
          </ac:spMkLst>
        </pc:spChg>
        <pc:spChg chg="add del mod ord">
          <ac:chgData name="Nwokenna, Ola" userId="24fd04f5-1db1-4044-9d5a-a2564da48616" providerId="ADAL" clId="{069E6D5C-44E2-4543-A9E5-23AB25AAE2AA}" dt="2019-05-28T12:46:19.211" v="47714"/>
          <ac:spMkLst>
            <pc:docMk/>
            <pc:sldMk cId="2617353030" sldId="644"/>
            <ac:spMk id="40" creationId="{09F405CF-96CC-4EB4-AE95-D8156D34BC68}"/>
          </ac:spMkLst>
        </pc:spChg>
        <pc:spChg chg="add del mod ord">
          <ac:chgData name="Nwokenna, Ola" userId="24fd04f5-1db1-4044-9d5a-a2564da48616" providerId="ADAL" clId="{069E6D5C-44E2-4543-A9E5-23AB25AAE2AA}" dt="2019-05-28T12:46:19.215" v="47718"/>
          <ac:spMkLst>
            <pc:docMk/>
            <pc:sldMk cId="2617353030" sldId="644"/>
            <ac:spMk id="41" creationId="{2AD078B9-9657-45CE-BADF-AF304560CAE7}"/>
          </ac:spMkLst>
        </pc:spChg>
        <pc:spChg chg="add del mod ord">
          <ac:chgData name="Nwokenna, Ola" userId="24fd04f5-1db1-4044-9d5a-a2564da48616" providerId="ADAL" clId="{069E6D5C-44E2-4543-A9E5-23AB25AAE2AA}" dt="2019-05-28T12:46:19.222" v="47722"/>
          <ac:spMkLst>
            <pc:docMk/>
            <pc:sldMk cId="2617353030" sldId="644"/>
            <ac:spMk id="42" creationId="{4EB47AFC-B4A3-4D99-BCEA-42C4029413FC}"/>
          </ac:spMkLst>
        </pc:spChg>
        <pc:spChg chg="add del mod ord">
          <ac:chgData name="Nwokenna, Ola" userId="24fd04f5-1db1-4044-9d5a-a2564da48616" providerId="ADAL" clId="{069E6D5C-44E2-4543-A9E5-23AB25AAE2AA}" dt="2019-05-28T12:46:19.230" v="47726"/>
          <ac:spMkLst>
            <pc:docMk/>
            <pc:sldMk cId="2617353030" sldId="644"/>
            <ac:spMk id="43" creationId="{DEDD619B-4B4D-49C1-B808-2743EBCB54EF}"/>
          </ac:spMkLst>
        </pc:spChg>
        <pc:spChg chg="add del mod ord">
          <ac:chgData name="Nwokenna, Ola" userId="24fd04f5-1db1-4044-9d5a-a2564da48616" providerId="ADAL" clId="{069E6D5C-44E2-4543-A9E5-23AB25AAE2AA}" dt="2019-05-28T12:46:19.226" v="47724"/>
          <ac:spMkLst>
            <pc:docMk/>
            <pc:sldMk cId="2617353030" sldId="644"/>
            <ac:spMk id="44" creationId="{1F5A5E25-E982-494C-90DE-D14D84CA858F}"/>
          </ac:spMkLst>
        </pc:spChg>
        <pc:spChg chg="add del mod ord">
          <ac:chgData name="Nwokenna, Ola" userId="24fd04f5-1db1-4044-9d5a-a2564da48616" providerId="ADAL" clId="{069E6D5C-44E2-4543-A9E5-23AB25AAE2AA}" dt="2019-05-28T12:46:19.233" v="47730"/>
          <ac:spMkLst>
            <pc:docMk/>
            <pc:sldMk cId="2617353030" sldId="644"/>
            <ac:spMk id="45" creationId="{7216FD1E-8CB3-43B1-AD32-45911B78E1A8}"/>
          </ac:spMkLst>
        </pc:spChg>
        <pc:spChg chg="add del mod ord">
          <ac:chgData name="Nwokenna, Ola" userId="24fd04f5-1db1-4044-9d5a-a2564da48616" providerId="ADAL" clId="{069E6D5C-44E2-4543-A9E5-23AB25AAE2AA}" dt="2019-05-28T12:46:19.232" v="47728"/>
          <ac:spMkLst>
            <pc:docMk/>
            <pc:sldMk cId="2617353030" sldId="644"/>
            <ac:spMk id="46" creationId="{C91A5908-8F05-4D6B-8604-F7F79CF4BED4}"/>
          </ac:spMkLst>
        </pc:spChg>
        <pc:spChg chg="add del mod ord">
          <ac:chgData name="Nwokenna, Ola" userId="24fd04f5-1db1-4044-9d5a-a2564da48616" providerId="ADAL" clId="{069E6D5C-44E2-4543-A9E5-23AB25AAE2AA}" dt="2019-05-28T12:46:19.241" v="47734"/>
          <ac:spMkLst>
            <pc:docMk/>
            <pc:sldMk cId="2617353030" sldId="644"/>
            <ac:spMk id="47" creationId="{C73348B5-41D4-4326-8D03-8414011F8D19}"/>
          </ac:spMkLst>
        </pc:spChg>
        <pc:spChg chg="add del mod ord">
          <ac:chgData name="Nwokenna, Ola" userId="24fd04f5-1db1-4044-9d5a-a2564da48616" providerId="ADAL" clId="{069E6D5C-44E2-4543-A9E5-23AB25AAE2AA}" dt="2019-05-28T12:46:19.235" v="47732"/>
          <ac:spMkLst>
            <pc:docMk/>
            <pc:sldMk cId="2617353030" sldId="644"/>
            <ac:spMk id="48" creationId="{1329FCDB-5C59-4358-80D4-EFD25C39EF4E}"/>
          </ac:spMkLst>
        </pc:spChg>
        <pc:spChg chg="add del mod ord">
          <ac:chgData name="Nwokenna, Ola" userId="24fd04f5-1db1-4044-9d5a-a2564da48616" providerId="ADAL" clId="{069E6D5C-44E2-4543-A9E5-23AB25AAE2AA}" dt="2019-05-28T12:46:19.189" v="47700"/>
          <ac:spMkLst>
            <pc:docMk/>
            <pc:sldMk cId="2617353030" sldId="644"/>
            <ac:spMk id="50" creationId="{9D298C6B-9596-43D0-97C9-DC95F116024F}"/>
          </ac:spMkLst>
        </pc:spChg>
        <pc:spChg chg="add del mod ord">
          <ac:chgData name="Nwokenna, Ola" userId="24fd04f5-1db1-4044-9d5a-a2564da48616" providerId="ADAL" clId="{069E6D5C-44E2-4543-A9E5-23AB25AAE2AA}" dt="2019-05-28T12:46:19.196" v="47704"/>
          <ac:spMkLst>
            <pc:docMk/>
            <pc:sldMk cId="2617353030" sldId="644"/>
            <ac:spMk id="51" creationId="{02AF023D-BAC7-4E1F-8897-6073B9CB724B}"/>
          </ac:spMkLst>
        </pc:spChg>
        <pc:spChg chg="add del mod ord">
          <ac:chgData name="Nwokenna, Ola" userId="24fd04f5-1db1-4044-9d5a-a2564da48616" providerId="ADAL" clId="{069E6D5C-44E2-4543-A9E5-23AB25AAE2AA}" dt="2019-05-28T12:46:19.200" v="47708"/>
          <ac:spMkLst>
            <pc:docMk/>
            <pc:sldMk cId="2617353030" sldId="644"/>
            <ac:spMk id="52" creationId="{995142DC-4CFD-4C8C-8EB1-4FA484D25935}"/>
          </ac:spMkLst>
        </pc:spChg>
        <pc:spChg chg="add del mod ord">
          <ac:chgData name="Nwokenna, Ola" userId="24fd04f5-1db1-4044-9d5a-a2564da48616" providerId="ADAL" clId="{069E6D5C-44E2-4543-A9E5-23AB25AAE2AA}" dt="2019-05-28T12:46:19.208" v="47712"/>
          <ac:spMkLst>
            <pc:docMk/>
            <pc:sldMk cId="2617353030" sldId="644"/>
            <ac:spMk id="53" creationId="{E5213A5B-D40D-4A17-BFE8-BE22BA7F08F5}"/>
          </ac:spMkLst>
        </pc:spChg>
        <pc:spChg chg="add del mod ord">
          <ac:chgData name="Nwokenna, Ola" userId="24fd04f5-1db1-4044-9d5a-a2564da48616" providerId="ADAL" clId="{069E6D5C-44E2-4543-A9E5-23AB25AAE2AA}" dt="2019-05-28T12:46:19.213" v="47716"/>
          <ac:spMkLst>
            <pc:docMk/>
            <pc:sldMk cId="2617353030" sldId="644"/>
            <ac:spMk id="54" creationId="{241DEE58-75CC-4622-A2BB-4D584D5F2533}"/>
          </ac:spMkLst>
        </pc:spChg>
        <pc:spChg chg="add del mod ord">
          <ac:chgData name="Nwokenna, Ola" userId="24fd04f5-1db1-4044-9d5a-a2564da48616" providerId="ADAL" clId="{069E6D5C-44E2-4543-A9E5-23AB25AAE2AA}" dt="2019-05-28T12:46:19.217" v="47720"/>
          <ac:spMkLst>
            <pc:docMk/>
            <pc:sldMk cId="2617353030" sldId="644"/>
            <ac:spMk id="55" creationId="{40932381-BABD-4193-B676-41FF26202802}"/>
          </ac:spMkLst>
        </pc:spChg>
        <pc:spChg chg="add del mod ord">
          <ac:chgData name="Nwokenna, Ola" userId="24fd04f5-1db1-4044-9d5a-a2564da48616" providerId="ADAL" clId="{069E6D5C-44E2-4543-A9E5-23AB25AAE2AA}" dt="2019-05-28T12:47:13.124" v="48888"/>
          <ac:spMkLst>
            <pc:docMk/>
            <pc:sldMk cId="2617353030" sldId="644"/>
            <ac:spMk id="57" creationId="{FF1CFCBF-6F88-45A7-88D7-B52AB82C4435}"/>
          </ac:spMkLst>
        </pc:spChg>
        <pc:spChg chg="add del mod ord">
          <ac:chgData name="Nwokenna, Ola" userId="24fd04f5-1db1-4044-9d5a-a2564da48616" providerId="ADAL" clId="{069E6D5C-44E2-4543-A9E5-23AB25AAE2AA}" dt="2019-05-28T12:47:15.934" v="49031"/>
          <ac:spMkLst>
            <pc:docMk/>
            <pc:sldMk cId="2617353030" sldId="644"/>
            <ac:spMk id="58" creationId="{6D59A8BC-80ED-46D1-9AB1-35E944DEBBB9}"/>
          </ac:spMkLst>
        </pc:spChg>
        <pc:spChg chg="add del mod ord">
          <ac:chgData name="Nwokenna, Ola" userId="24fd04f5-1db1-4044-9d5a-a2564da48616" providerId="ADAL" clId="{069E6D5C-44E2-4543-A9E5-23AB25AAE2AA}" dt="2019-05-28T12:48:00.103" v="49859"/>
          <ac:spMkLst>
            <pc:docMk/>
            <pc:sldMk cId="2617353030" sldId="644"/>
            <ac:spMk id="59" creationId="{FC655348-2F81-4C65-BEB5-378D0FD98A0B}"/>
          </ac:spMkLst>
        </pc:spChg>
        <pc:graphicFrameChg chg="mod ord">
          <ac:chgData name="Nwokenna, Ola" userId="24fd04f5-1db1-4044-9d5a-a2564da48616" providerId="ADAL" clId="{069E6D5C-44E2-4543-A9E5-23AB25AAE2AA}" dt="2019-05-28T12:48:00.331" v="49922"/>
          <ac:graphicFrameMkLst>
            <pc:docMk/>
            <pc:sldMk cId="2617353030" sldId="644"/>
            <ac:graphicFrameMk id="7" creationId="{99E9314C-6513-4C86-ACB4-5E185711F6E0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2:43:59.164" v="46262"/>
          <ac:graphicFrameMkLst>
            <pc:docMk/>
            <pc:sldMk cId="2617353030" sldId="644"/>
            <ac:graphicFrameMk id="8" creationId="{42DB8379-A5A4-4B7B-8679-078AB9C3BED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4:24.842" v="46447"/>
          <ac:graphicFrameMkLst>
            <pc:docMk/>
            <pc:sldMk cId="2617353030" sldId="644"/>
            <ac:graphicFrameMk id="33" creationId="{2CFD854E-3FD4-4F16-8C4B-08682D6AC2A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4:40.764" v="46571"/>
          <ac:graphicFrameMkLst>
            <pc:docMk/>
            <pc:sldMk cId="2617353030" sldId="644"/>
            <ac:graphicFrameMk id="34" creationId="{D2931B3E-6214-4C3D-BDBB-D3162548035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4:46.702" v="46690"/>
          <ac:graphicFrameMkLst>
            <pc:docMk/>
            <pc:sldMk cId="2617353030" sldId="644"/>
            <ac:graphicFrameMk id="35" creationId="{BC991817-8F14-4997-A4AF-2F4F57070BD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09.726" v="47327"/>
          <ac:graphicFrameMkLst>
            <pc:docMk/>
            <pc:sldMk cId="2617353030" sldId="644"/>
            <ac:graphicFrameMk id="36" creationId="{E8D512B5-AC4B-45F2-855E-CBCE3002B46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10.445" v="47592"/>
          <ac:graphicFrameMkLst>
            <pc:docMk/>
            <pc:sldMk cId="2617353030" sldId="644"/>
            <ac:graphicFrameMk id="49" creationId="{B68EF2DC-8C0E-4B3A-B48D-2350D919FB2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19.877" v="47967"/>
          <ac:graphicFrameMkLst>
            <pc:docMk/>
            <pc:sldMk cId="2617353030" sldId="644"/>
            <ac:graphicFrameMk id="56" creationId="{7F1804C8-2570-4432-A80C-77C30150A4D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35.870" v="48098"/>
          <ac:graphicFrameMkLst>
            <pc:docMk/>
            <pc:sldMk cId="2617353030" sldId="644"/>
            <ac:graphicFrameMk id="60" creationId="{0937EEA7-4239-4C86-9A1D-996E2EC5718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39.842" v="48251"/>
          <ac:graphicFrameMkLst>
            <pc:docMk/>
            <pc:sldMk cId="2617353030" sldId="644"/>
            <ac:graphicFrameMk id="61" creationId="{31B3E740-A1B8-4087-B39E-F6D810AD8E8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51.135" v="48372"/>
          <ac:graphicFrameMkLst>
            <pc:docMk/>
            <pc:sldMk cId="2617353030" sldId="644"/>
            <ac:graphicFrameMk id="62" creationId="{F5292CD7-3E06-4116-9219-75E71AC69FE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53.230" v="48493"/>
          <ac:graphicFrameMkLst>
            <pc:docMk/>
            <pc:sldMk cId="2617353030" sldId="644"/>
            <ac:graphicFrameMk id="63" creationId="{D39B583A-BCD0-4794-874E-24F42883F6E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56.300" v="48614"/>
          <ac:graphicFrameMkLst>
            <pc:docMk/>
            <pc:sldMk cId="2617353030" sldId="644"/>
            <ac:graphicFrameMk id="64" creationId="{85B04482-FCCB-46F5-B70E-992B2C76F86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06.241" v="48735"/>
          <ac:graphicFrameMkLst>
            <pc:docMk/>
            <pc:sldMk cId="2617353030" sldId="644"/>
            <ac:graphicFrameMk id="65" creationId="{74EB265E-E143-498E-AF9A-786F6DAD551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11.290" v="48815"/>
          <ac:graphicFrameMkLst>
            <pc:docMk/>
            <pc:sldMk cId="2617353030" sldId="644"/>
            <ac:graphicFrameMk id="66" creationId="{2FABBB55-9894-4ABB-A820-5124F4D422D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13.171" v="48891"/>
          <ac:graphicFrameMkLst>
            <pc:docMk/>
            <pc:sldMk cId="2617353030" sldId="644"/>
            <ac:graphicFrameMk id="67" creationId="{802DED71-5493-42BB-AD46-CDD0F9260BF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14.890" v="48963"/>
          <ac:graphicFrameMkLst>
            <pc:docMk/>
            <pc:sldMk cId="2617353030" sldId="644"/>
            <ac:graphicFrameMk id="68" creationId="{95B912E5-2C66-49B0-9C01-A638FD7F06C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15.975" v="49032"/>
          <ac:graphicFrameMkLst>
            <pc:docMk/>
            <pc:sldMk cId="2617353030" sldId="644"/>
            <ac:graphicFrameMk id="69" creationId="{858ADDE2-5CC8-4FCF-9EAF-EFB63CC0D04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17.923" v="49097"/>
          <ac:graphicFrameMkLst>
            <pc:docMk/>
            <pc:sldMk cId="2617353030" sldId="644"/>
            <ac:graphicFrameMk id="70" creationId="{824920F3-D3D5-42A2-81D5-8D85910FEAF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23.400" v="49162"/>
          <ac:graphicFrameMkLst>
            <pc:docMk/>
            <pc:sldMk cId="2617353030" sldId="644"/>
            <ac:graphicFrameMk id="71" creationId="{C9B0D1A9-1812-42E1-9A4F-53C3E914FBC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24.921" v="49307"/>
          <ac:graphicFrameMkLst>
            <pc:docMk/>
            <pc:sldMk cId="2617353030" sldId="644"/>
            <ac:graphicFrameMk id="72" creationId="{E68605CE-F69D-4462-88EE-14520DE4568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34.370" v="49700"/>
          <ac:graphicFrameMkLst>
            <pc:docMk/>
            <pc:sldMk cId="2617353030" sldId="644"/>
            <ac:graphicFrameMk id="73" creationId="{DE38D345-1EA6-46A1-9643-4FDFFAF29C1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58.124" v="49793"/>
          <ac:graphicFrameMkLst>
            <pc:docMk/>
            <pc:sldMk cId="2617353030" sldId="644"/>
            <ac:graphicFrameMk id="74" creationId="{69206F28-E486-4B3C-B2C4-954C106ABBB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8:00.145" v="49860"/>
          <ac:graphicFrameMkLst>
            <pc:docMk/>
            <pc:sldMk cId="2617353030" sldId="644"/>
            <ac:graphicFrameMk id="75" creationId="{A5FE701A-3546-41F1-8E2D-E53438C1012D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48:00.238" v="49874"/>
          <ac:graphicFrameMkLst>
            <pc:docMk/>
            <pc:sldMk cId="2617353030" sldId="644"/>
            <ac:graphicFrameMk id="76" creationId="{A6BA9F2B-07A0-4FA4-952E-E1CD0BB03317}"/>
          </ac:graphicFrameMkLst>
        </pc:graphicFrameChg>
      </pc:sldChg>
      <pc:sldChg chg="addSp delSp modSp add">
        <pc:chgData name="Nwokenna, Ola" userId="24fd04f5-1db1-4044-9d5a-a2564da48616" providerId="ADAL" clId="{069E6D5C-44E2-4543-A9E5-23AB25AAE2AA}" dt="2019-05-28T12:53:28.216" v="50152" actId="207"/>
        <pc:sldMkLst>
          <pc:docMk/>
          <pc:sldMk cId="2888629068" sldId="645"/>
        </pc:sldMkLst>
        <pc:spChg chg="mod ord">
          <ac:chgData name="Nwokenna, Ola" userId="24fd04f5-1db1-4044-9d5a-a2564da48616" providerId="ADAL" clId="{069E6D5C-44E2-4543-A9E5-23AB25AAE2AA}" dt="2019-05-28T12:48:20.142" v="49963"/>
          <ac:spMkLst>
            <pc:docMk/>
            <pc:sldMk cId="2888629068" sldId="645"/>
            <ac:spMk id="2" creationId="{53E5A07F-9F62-4DCA-9C93-07CB4C12323A}"/>
          </ac:spMkLst>
        </pc:spChg>
        <pc:spChg chg="mod ord">
          <ac:chgData name="Nwokenna, Ola" userId="24fd04f5-1db1-4044-9d5a-a2564da48616" providerId="ADAL" clId="{069E6D5C-44E2-4543-A9E5-23AB25AAE2AA}" dt="2019-05-28T12:53:28.216" v="50152" actId="207"/>
          <ac:spMkLst>
            <pc:docMk/>
            <pc:sldMk cId="2888629068" sldId="645"/>
            <ac:spMk id="3" creationId="{A6F63219-47EB-476B-BF06-97E8A49FE54C}"/>
          </ac:spMkLst>
        </pc:spChg>
        <pc:spChg chg="mod ord">
          <ac:chgData name="Nwokenna, Ola" userId="24fd04f5-1db1-4044-9d5a-a2564da48616" providerId="ADAL" clId="{069E6D5C-44E2-4543-A9E5-23AB25AAE2AA}" dt="2019-05-28T12:48:20.145" v="49967"/>
          <ac:spMkLst>
            <pc:docMk/>
            <pc:sldMk cId="2888629068" sldId="645"/>
            <ac:spMk id="4" creationId="{A9A66E63-BD8B-4B57-930C-780C6F71E926}"/>
          </ac:spMkLst>
        </pc:spChg>
        <pc:spChg chg="del mod ord">
          <ac:chgData name="Nwokenna, Ola" userId="24fd04f5-1db1-4044-9d5a-a2564da48616" providerId="ADAL" clId="{069E6D5C-44E2-4543-A9E5-23AB25AAE2AA}" dt="2019-05-28T12:48:28.194" v="49984" actId="478"/>
          <ac:spMkLst>
            <pc:docMk/>
            <pc:sldMk cId="2888629068" sldId="645"/>
            <ac:spMk id="5" creationId="{BFB6E08D-B005-49E0-B00B-FD7169FF2F6D}"/>
          </ac:spMkLst>
        </pc:spChg>
        <pc:spChg chg="add mod ord">
          <ac:chgData name="Nwokenna, Ola" userId="24fd04f5-1db1-4044-9d5a-a2564da48616" providerId="ADAL" clId="{069E6D5C-44E2-4543-A9E5-23AB25AAE2AA}" dt="2019-05-28T12:48:20.140" v="49961"/>
          <ac:spMkLst>
            <pc:docMk/>
            <pc:sldMk cId="2888629068" sldId="645"/>
            <ac:spMk id="6" creationId="{C76606F2-0DF3-4F42-A50E-51C19A18BCB5}"/>
          </ac:spMkLst>
        </pc:spChg>
        <pc:graphicFrameChg chg="add mod ord">
          <ac:chgData name="Nwokenna, Ola" userId="24fd04f5-1db1-4044-9d5a-a2564da48616" providerId="ADAL" clId="{069E6D5C-44E2-4543-A9E5-23AB25AAE2AA}" dt="2019-05-28T12:48:20.250" v="49983"/>
          <ac:graphicFrameMkLst>
            <pc:docMk/>
            <pc:sldMk cId="2888629068" sldId="645"/>
            <ac:graphicFrameMk id="7" creationId="{E24B3E29-C74C-4133-9F97-8F1FFEC81D71}"/>
          </ac:graphicFrameMkLst>
        </pc:graphicFrameChg>
      </pc:sldChg>
      <pc:sldChg chg="addSp delSp modSp add ord">
        <pc:chgData name="Nwokenna, Ola" userId="24fd04f5-1db1-4044-9d5a-a2564da48616" providerId="ADAL" clId="{069E6D5C-44E2-4543-A9E5-23AB25AAE2AA}" dt="2019-05-28T12:58:58.522" v="50642" actId="207"/>
        <pc:sldMkLst>
          <pc:docMk/>
          <pc:sldMk cId="34069493" sldId="646"/>
        </pc:sldMkLst>
        <pc:spChg chg="mod ord">
          <ac:chgData name="Nwokenna, Ola" userId="24fd04f5-1db1-4044-9d5a-a2564da48616" providerId="ADAL" clId="{069E6D5C-44E2-4543-A9E5-23AB25AAE2AA}" dt="2019-05-28T12:58:52.354" v="50636" actId="20577"/>
          <ac:spMkLst>
            <pc:docMk/>
            <pc:sldMk cId="34069493" sldId="646"/>
            <ac:spMk id="2" creationId="{82309A54-0667-4F50-A0DE-66D9DB8D1F29}"/>
          </ac:spMkLst>
        </pc:spChg>
        <pc:spChg chg="del">
          <ac:chgData name="Nwokenna, Ola" userId="24fd04f5-1db1-4044-9d5a-a2564da48616" providerId="ADAL" clId="{069E6D5C-44E2-4543-A9E5-23AB25AAE2AA}" dt="2019-05-28T12:55:40.698" v="50226" actId="478"/>
          <ac:spMkLst>
            <pc:docMk/>
            <pc:sldMk cId="34069493" sldId="646"/>
            <ac:spMk id="3" creationId="{E529E9D0-0A1B-4522-8F5B-6631840168D1}"/>
          </ac:spMkLst>
        </pc:spChg>
        <pc:spChg chg="mod ord">
          <ac:chgData name="Nwokenna, Ola" userId="24fd04f5-1db1-4044-9d5a-a2564da48616" providerId="ADAL" clId="{069E6D5C-44E2-4543-A9E5-23AB25AAE2AA}" dt="2019-05-28T12:56:52.793" v="50363"/>
          <ac:spMkLst>
            <pc:docMk/>
            <pc:sldMk cId="34069493" sldId="646"/>
            <ac:spMk id="4" creationId="{F15EAC6D-62FF-481A-9FB6-DB1B3D798DD5}"/>
          </ac:spMkLst>
        </pc:spChg>
        <pc:spChg chg="del">
          <ac:chgData name="Nwokenna, Ola" userId="24fd04f5-1db1-4044-9d5a-a2564da48616" providerId="ADAL" clId="{069E6D5C-44E2-4543-A9E5-23AB25AAE2AA}" dt="2019-05-28T12:55:41.363" v="50227" actId="478"/>
          <ac:spMkLst>
            <pc:docMk/>
            <pc:sldMk cId="34069493" sldId="646"/>
            <ac:spMk id="5" creationId="{722FC618-19E3-489B-B087-684A72BF142F}"/>
          </ac:spMkLst>
        </pc:spChg>
        <pc:spChg chg="add mod ord">
          <ac:chgData name="Nwokenna, Ola" userId="24fd04f5-1db1-4044-9d5a-a2564da48616" providerId="ADAL" clId="{069E6D5C-44E2-4543-A9E5-23AB25AAE2AA}" dt="2019-05-28T12:56:52.795" v="50367"/>
          <ac:spMkLst>
            <pc:docMk/>
            <pc:sldMk cId="34069493" sldId="646"/>
            <ac:spMk id="8" creationId="{1C107959-4233-4CD9-B17C-F5CE69D18C1F}"/>
          </ac:spMkLst>
        </pc:spChg>
        <pc:spChg chg="add mod ord">
          <ac:chgData name="Nwokenna, Ola" userId="24fd04f5-1db1-4044-9d5a-a2564da48616" providerId="ADAL" clId="{069E6D5C-44E2-4543-A9E5-23AB25AAE2AA}" dt="2019-05-28T12:56:52.790" v="50359"/>
          <ac:spMkLst>
            <pc:docMk/>
            <pc:sldMk cId="34069493" sldId="646"/>
            <ac:spMk id="9" creationId="{A5789D7B-0166-4210-922C-0F5702F525A0}"/>
          </ac:spMkLst>
        </pc:spChg>
        <pc:spChg chg="add mod">
          <ac:chgData name="Nwokenna, Ola" userId="24fd04f5-1db1-4044-9d5a-a2564da48616" providerId="ADAL" clId="{069E6D5C-44E2-4543-A9E5-23AB25AAE2AA}" dt="2019-05-28T12:57:30.129" v="50523" actId="1076"/>
          <ac:spMkLst>
            <pc:docMk/>
            <pc:sldMk cId="34069493" sldId="646"/>
            <ac:spMk id="11" creationId="{FA2FC0A6-705A-499C-A651-CE3D60134E2C}"/>
          </ac:spMkLst>
        </pc:spChg>
        <pc:spChg chg="add mod">
          <ac:chgData name="Nwokenna, Ola" userId="24fd04f5-1db1-4044-9d5a-a2564da48616" providerId="ADAL" clId="{069E6D5C-44E2-4543-A9E5-23AB25AAE2AA}" dt="2019-05-28T12:58:58.522" v="50642" actId="207"/>
          <ac:spMkLst>
            <pc:docMk/>
            <pc:sldMk cId="34069493" sldId="646"/>
            <ac:spMk id="12" creationId="{D0D7A4DF-5CEC-4EA5-BB1D-09DEDBEB2401}"/>
          </ac:spMkLst>
        </pc:spChg>
        <pc:graphicFrameChg chg="add mod ord">
          <ac:chgData name="Nwokenna, Ola" userId="24fd04f5-1db1-4044-9d5a-a2564da48616" providerId="ADAL" clId="{069E6D5C-44E2-4543-A9E5-23AB25AAE2AA}" dt="2019-05-28T12:58:52.903" v="50638"/>
          <ac:graphicFrameMkLst>
            <pc:docMk/>
            <pc:sldMk cId="34069493" sldId="646"/>
            <ac:graphicFrameMk id="10" creationId="{84F48E24-1352-4A16-8A7F-C2F7B68F8109}"/>
          </ac:graphicFrameMkLst>
        </pc:graphicFrameChg>
        <pc:picChg chg="add del mod">
          <ac:chgData name="Nwokenna, Ola" userId="24fd04f5-1db1-4044-9d5a-a2564da48616" providerId="ADAL" clId="{069E6D5C-44E2-4543-A9E5-23AB25AAE2AA}" dt="2019-05-28T12:56:07.022" v="50237" actId="478"/>
          <ac:picMkLst>
            <pc:docMk/>
            <pc:sldMk cId="34069493" sldId="646"/>
            <ac:picMk id="6" creationId="{094C6DD1-A86D-46C8-9AFB-A0F99970B7CF}"/>
          </ac:picMkLst>
        </pc:picChg>
        <pc:picChg chg="add mod ord">
          <ac:chgData name="Nwokenna, Ola" userId="24fd04f5-1db1-4044-9d5a-a2564da48616" providerId="ADAL" clId="{069E6D5C-44E2-4543-A9E5-23AB25AAE2AA}" dt="2019-05-28T12:56:52.794" v="50365"/>
          <ac:picMkLst>
            <pc:docMk/>
            <pc:sldMk cId="34069493" sldId="646"/>
            <ac:picMk id="7" creationId="{42BEEAEA-E2F7-4017-93FE-E158664D6E34}"/>
          </ac:picMkLst>
        </pc:picChg>
      </pc:sldChg>
      <pc:sldMasterChg chg="delSldLayout">
        <pc:chgData name="Nwokenna, Ola" userId="24fd04f5-1db1-4044-9d5a-a2564da48616" providerId="ADAL" clId="{069E6D5C-44E2-4543-A9E5-23AB25AAE2AA}" dt="2019-05-28T10:56:42.397" v="2" actId="2696"/>
        <pc:sldMasterMkLst>
          <pc:docMk/>
          <pc:sldMasterMk cId="2156591946" sldId="2147483851"/>
        </pc:sldMasterMkLst>
        <pc:sldLayoutChg chg="del">
          <pc:chgData name="Nwokenna, Ola" userId="24fd04f5-1db1-4044-9d5a-a2564da48616" providerId="ADAL" clId="{069E6D5C-44E2-4543-A9E5-23AB25AAE2AA}" dt="2019-05-28T10:56:42.397" v="2" actId="2696"/>
          <pc:sldLayoutMkLst>
            <pc:docMk/>
            <pc:sldMasterMk cId="2156591946" sldId="2147483851"/>
            <pc:sldLayoutMk cId="2359273089" sldId="2147483874"/>
          </pc:sldLayoutMkLst>
        </pc:sldLayoutChg>
      </pc:sldMasterChg>
      <pc:sldMasterChg chg="addSp modSp">
        <pc:chgData name="Nwokenna, Ola" userId="24fd04f5-1db1-4044-9d5a-a2564da48616" providerId="ADAL" clId="{069E6D5C-44E2-4543-A9E5-23AB25AAE2AA}" dt="2019-05-28T10:59:09.051" v="106"/>
        <pc:sldMasterMkLst>
          <pc:docMk/>
          <pc:sldMasterMk cId="3031928351" sldId="2147483874"/>
        </pc:sldMasterMkLst>
        <pc:spChg chg="mod ord">
          <ac:chgData name="Nwokenna, Ola" userId="24fd04f5-1db1-4044-9d5a-a2564da48616" providerId="ADAL" clId="{069E6D5C-44E2-4543-A9E5-23AB25AAE2AA}" dt="2019-05-28T10:59:09.034" v="94"/>
          <ac:spMkLst>
            <pc:docMk/>
            <pc:sldMasterMk cId="3031928351" sldId="2147483874"/>
            <ac:spMk id="2" creationId="{00000000-0000-0000-0000-000000000000}"/>
          </ac:spMkLst>
        </pc:spChg>
        <pc:spChg chg="mod ord">
          <ac:chgData name="Nwokenna, Ola" userId="24fd04f5-1db1-4044-9d5a-a2564da48616" providerId="ADAL" clId="{069E6D5C-44E2-4543-A9E5-23AB25AAE2AA}" dt="2019-05-28T10:59:09.036" v="96"/>
          <ac:spMkLst>
            <pc:docMk/>
            <pc:sldMasterMk cId="3031928351" sldId="2147483874"/>
            <ac:spMk id="3" creationId="{00000000-0000-0000-0000-000000000000}"/>
          </ac:spMkLst>
        </pc:spChg>
        <pc:spChg chg="add mod ord">
          <ac:chgData name="Nwokenna, Ola" userId="24fd04f5-1db1-4044-9d5a-a2564da48616" providerId="ADAL" clId="{069E6D5C-44E2-4543-A9E5-23AB25AAE2AA}" dt="2019-05-28T10:59:09.032" v="90"/>
          <ac:spMkLst>
            <pc:docMk/>
            <pc:sldMasterMk cId="3031928351" sldId="2147483874"/>
            <ac:spMk id="6" creationId="{943356F1-E516-454A-A1E9-D005682D4F4B}"/>
          </ac:spMkLst>
        </pc:spChg>
        <pc:spChg chg="mod ord">
          <ac:chgData name="Nwokenna, Ola" userId="24fd04f5-1db1-4044-9d5a-a2564da48616" providerId="ADAL" clId="{069E6D5C-44E2-4543-A9E5-23AB25AAE2AA}" dt="2019-05-28T10:59:09.037" v="98"/>
          <ac:spMkLst>
            <pc:docMk/>
            <pc:sldMasterMk cId="3031928351" sldId="2147483874"/>
            <ac:spMk id="7" creationId="{00000000-0000-0000-0000-000000000000}"/>
          </ac:spMkLst>
        </pc:spChg>
        <pc:spChg chg="mod ord">
          <ac:chgData name="Nwokenna, Ola" userId="24fd04f5-1db1-4044-9d5a-a2564da48616" providerId="ADAL" clId="{069E6D5C-44E2-4543-A9E5-23AB25AAE2AA}" dt="2019-05-28T10:59:09.042" v="104"/>
          <ac:spMkLst>
            <pc:docMk/>
            <pc:sldMasterMk cId="3031928351" sldId="2147483874"/>
            <ac:spMk id="9" creationId="{00000000-0000-0000-0000-000000000000}"/>
          </ac:spMkLst>
        </pc:spChg>
        <pc:graphicFrameChg chg="mod ord">
          <ac:chgData name="Nwokenna, Ola" userId="24fd04f5-1db1-4044-9d5a-a2564da48616" providerId="ADAL" clId="{069E6D5C-44E2-4543-A9E5-23AB25AAE2AA}" dt="2019-05-28T10:59:09.051" v="106"/>
          <ac:graphicFrameMkLst>
            <pc:docMk/>
            <pc:sldMasterMk cId="3031928351" sldId="2147483874"/>
            <ac:graphicFrameMk id="5" creationId="{00000000-0000-0000-0000-000000000000}"/>
          </ac:graphicFrameMkLst>
        </pc:graphicFrameChg>
        <pc:picChg chg="mod ord">
          <ac:chgData name="Nwokenna, Ola" userId="24fd04f5-1db1-4044-9d5a-a2564da48616" providerId="ADAL" clId="{069E6D5C-44E2-4543-A9E5-23AB25AAE2AA}" dt="2019-05-28T10:59:09.033" v="92"/>
          <ac:picMkLst>
            <pc:docMk/>
            <pc:sldMasterMk cId="3031928351" sldId="2147483874"/>
            <ac:picMk id="4" creationId="{00000000-0000-0000-0000-000000000000}"/>
          </ac:picMkLst>
        </pc:picChg>
        <pc:picChg chg="mod ord">
          <ac:chgData name="Nwokenna, Ola" userId="24fd04f5-1db1-4044-9d5a-a2564da48616" providerId="ADAL" clId="{069E6D5C-44E2-4543-A9E5-23AB25AAE2AA}" dt="2019-05-28T10:59:09.039" v="100"/>
          <ac:picMkLst>
            <pc:docMk/>
            <pc:sldMasterMk cId="3031928351" sldId="2147483874"/>
            <ac:picMk id="16" creationId="{00000000-0000-0000-0000-000000000000}"/>
          </ac:picMkLst>
        </pc:picChg>
        <pc:picChg chg="mod ord">
          <ac:chgData name="Nwokenna, Ola" userId="24fd04f5-1db1-4044-9d5a-a2564da48616" providerId="ADAL" clId="{069E6D5C-44E2-4543-A9E5-23AB25AAE2AA}" dt="2019-05-28T10:59:09.040" v="102"/>
          <ac:picMkLst>
            <pc:docMk/>
            <pc:sldMasterMk cId="3031928351" sldId="2147483874"/>
            <ac:picMk id="17" creationId="{00000000-0000-0000-0000-000000000000}"/>
          </ac:picMkLst>
        </pc:pic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206088997777672"/>
          <c:y val="5.5591973503187016E-2"/>
          <c:w val="0.84769612267723626"/>
          <c:h val="0.69414457475498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R</c:v>
                </c:pt>
              </c:strCache>
            </c:strRef>
          </c:tx>
          <c:spPr>
            <a:solidFill>
              <a:srgbClr val="FFC41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169-4558-99B7-508EB9BEE5DC}"/>
              </c:ext>
            </c:extLst>
          </c:dPt>
          <c:dPt>
            <c:idx val="1"/>
            <c:invertIfNegative val="0"/>
            <c:bubble3D val="0"/>
            <c:spPr>
              <a:solidFill>
                <a:srgbClr val="AC04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169-4558-99B7-508EB9BEE5D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169-4558-99B7-508EB9BEE5DC}"/>
              </c:ext>
            </c:extLst>
          </c:dPt>
          <c:dPt>
            <c:idx val="4"/>
            <c:invertIfNegative val="0"/>
            <c:bubble3D val="0"/>
            <c:spPr>
              <a:solidFill>
                <a:srgbClr val="AC04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169-4558-99B7-508EB9BEE5DC}"/>
              </c:ext>
            </c:extLst>
          </c:dPt>
          <c:cat>
            <c:strRef>
              <c:f>Sheet1!$A$2:$A$6</c:f>
              <c:strCache>
                <c:ptCount val="5"/>
                <c:pt idx="0">
                  <c:v>ITT A-nabPx</c:v>
                </c:pt>
                <c:pt idx="1">
                  <c:v>ITT P-nabPx</c:v>
                </c:pt>
                <c:pt idx="3">
                  <c:v>PD-L1+ A-nabPx</c:v>
                </c:pt>
                <c:pt idx="4">
                  <c:v>PD-L1+ P-nabPx</c:v>
                </c:pt>
              </c:strCache>
            </c:strRef>
          </c:cat>
          <c:val>
            <c:numRef>
              <c:f>Sheet1!$B$2:$B$6</c:f>
              <c:numCache>
                <c:formatCode>0</c:formatCode>
                <c:ptCount val="5"/>
                <c:pt idx="0">
                  <c:v>7.1</c:v>
                </c:pt>
                <c:pt idx="1">
                  <c:v>1.6</c:v>
                </c:pt>
                <c:pt idx="3">
                  <c:v>10.3</c:v>
                </c:pt>
                <c:pt idx="4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169-4558-99B7-508EB9BEE5D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</c:v>
                </c:pt>
              </c:strCache>
            </c:strRef>
          </c:tx>
          <c:spPr>
            <a:solidFill>
              <a:srgbClr val="304CA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5C2FF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8169-4558-99B7-508EB9BEE5DC}"/>
              </c:ext>
            </c:extLst>
          </c:dPt>
          <c:dPt>
            <c:idx val="1"/>
            <c:invertIfNegative val="0"/>
            <c:bubble3D val="0"/>
            <c:spPr>
              <a:solidFill>
                <a:srgbClr val="EA3A3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8169-4558-99B7-508EB9BEE5DC}"/>
              </c:ext>
            </c:extLst>
          </c:dPt>
          <c:dPt>
            <c:idx val="3"/>
            <c:invertIfNegative val="0"/>
            <c:bubble3D val="0"/>
            <c:spPr>
              <a:solidFill>
                <a:srgbClr val="85C2FF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8169-4558-99B7-508EB9BEE5DC}"/>
              </c:ext>
            </c:extLst>
          </c:dPt>
          <c:dPt>
            <c:idx val="4"/>
            <c:invertIfNegative val="0"/>
            <c:bubble3D val="0"/>
            <c:spPr>
              <a:solidFill>
                <a:srgbClr val="EA3A3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8169-4558-99B7-508EB9BEE5DC}"/>
              </c:ext>
            </c:extLst>
          </c:dPt>
          <c:cat>
            <c:strRef>
              <c:f>Sheet1!$A$2:$A$6</c:f>
              <c:strCache>
                <c:ptCount val="5"/>
                <c:pt idx="0">
                  <c:v>ITT A-nabPx</c:v>
                </c:pt>
                <c:pt idx="1">
                  <c:v>ITT P-nabPx</c:v>
                </c:pt>
                <c:pt idx="3">
                  <c:v>PD-L1+ A-nabPx</c:v>
                </c:pt>
                <c:pt idx="4">
                  <c:v>PD-L1+ P-nabPx</c:v>
                </c:pt>
              </c:strCache>
            </c:strRef>
          </c:cat>
          <c:val>
            <c:numRef>
              <c:f>Sheet1!$C$2:$C$6</c:f>
              <c:numCache>
                <c:formatCode>0</c:formatCode>
                <c:ptCount val="5"/>
                <c:pt idx="0">
                  <c:v>48.9</c:v>
                </c:pt>
                <c:pt idx="1">
                  <c:v>44.3</c:v>
                </c:pt>
                <c:pt idx="3">
                  <c:v>48.6</c:v>
                </c:pt>
                <c:pt idx="4">
                  <c:v>4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8169-4558-99B7-508EB9BEE5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7994368"/>
        <c:axId val="47995904"/>
      </c:barChart>
      <c:catAx>
        <c:axId val="47994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22225" cap="sq" cmpd="sng" algn="ctr">
            <a:solidFill>
              <a:schemeClr val="tx1"/>
            </a:solidFill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47995904"/>
        <c:crosses val="autoZero"/>
        <c:auto val="1"/>
        <c:lblAlgn val="ctr"/>
        <c:lblOffset val="100"/>
        <c:noMultiLvlLbl val="0"/>
      </c:catAx>
      <c:valAx>
        <c:axId val="47995904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r>
                  <a:rPr lang="en-GB" sz="1400" b="0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RR (%)</a:t>
                </a:r>
              </a:p>
            </c:rich>
          </c:tx>
          <c:layout>
            <c:manualLayout>
              <c:xMode val="edge"/>
              <c:yMode val="edge"/>
              <c:x val="0"/>
              <c:y val="0.2528020854622285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out"/>
        <c:minorTickMark val="none"/>
        <c:tickLblPos val="nextTo"/>
        <c:spPr>
          <a:noFill/>
          <a:ln w="28575" cap="sq">
            <a:solidFill>
              <a:schemeClr val="tx1"/>
            </a:solidFill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47994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838013481695723E-2"/>
          <c:y val="2.4188671739022328E-2"/>
          <c:w val="0.93208742625317298"/>
          <c:h val="0.93727336609519551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>
              <a:outerShdw dist="25400" dir="2700000" algn="tl" rotWithShape="0">
                <a:schemeClr val="accent1"/>
              </a:outerShdw>
            </a:effectLst>
          </c:spPr>
          <c:marker>
            <c:symbol val="diamond"/>
            <c:size val="8"/>
            <c:spPr>
              <a:solidFill>
                <a:schemeClr val="tx2"/>
              </a:solidFill>
              <a:ln w="6350">
                <a:noFill/>
                <a:round/>
              </a:ln>
              <a:effectLst/>
            </c:spPr>
          </c:marker>
          <c:dPt>
            <c:idx val="15"/>
            <c:bubble3D val="0"/>
            <c:extLst>
              <c:ext xmlns:c16="http://schemas.microsoft.com/office/drawing/2014/chart" uri="{C3380CC4-5D6E-409C-BE32-E72D297353CC}">
                <c16:uniqueId val="{00000000-76BE-4785-B44A-00BDBB4E8D44}"/>
              </c:ext>
            </c:extLst>
          </c:dPt>
          <c:dPt>
            <c:idx val="25"/>
            <c:bubble3D val="0"/>
            <c:extLst>
              <c:ext xmlns:c16="http://schemas.microsoft.com/office/drawing/2014/chart" uri="{C3380CC4-5D6E-409C-BE32-E72D297353CC}">
                <c16:uniqueId val="{00000001-76BE-4785-B44A-00BDBB4E8D44}"/>
              </c:ext>
            </c:extLst>
          </c:dPt>
          <c:dPt>
            <c:idx val="28"/>
            <c:bubble3D val="0"/>
            <c:extLst>
              <c:ext xmlns:c16="http://schemas.microsoft.com/office/drawing/2014/chart" uri="{C3380CC4-5D6E-409C-BE32-E72D297353CC}">
                <c16:uniqueId val="{00000002-76BE-4785-B44A-00BDBB4E8D44}"/>
              </c:ext>
            </c:extLst>
          </c:dPt>
          <c:dPt>
            <c:idx val="29"/>
            <c:bubble3D val="0"/>
            <c:extLst>
              <c:ext xmlns:c16="http://schemas.microsoft.com/office/drawing/2014/chart" uri="{C3380CC4-5D6E-409C-BE32-E72D297353CC}">
                <c16:uniqueId val="{00000003-76BE-4785-B44A-00BDBB4E8D44}"/>
              </c:ext>
            </c:extLst>
          </c:dPt>
          <c:dPt>
            <c:idx val="30"/>
            <c:bubble3D val="0"/>
            <c:extLst>
              <c:ext xmlns:c16="http://schemas.microsoft.com/office/drawing/2014/chart" uri="{C3380CC4-5D6E-409C-BE32-E72D297353CC}">
                <c16:uniqueId val="{00000004-76BE-4785-B44A-00BDBB4E8D44}"/>
              </c:ext>
            </c:extLst>
          </c:dPt>
          <c:dPt>
            <c:idx val="40"/>
            <c:bubble3D val="0"/>
            <c:extLst>
              <c:ext xmlns:c16="http://schemas.microsoft.com/office/drawing/2014/chart" uri="{C3380CC4-5D6E-409C-BE32-E72D297353CC}">
                <c16:uniqueId val="{00000005-76BE-4785-B44A-00BDBB4E8D44}"/>
              </c:ext>
            </c:extLst>
          </c:dPt>
          <c:dPt>
            <c:idx val="41"/>
            <c:bubble3D val="0"/>
            <c:extLst>
              <c:ext xmlns:c16="http://schemas.microsoft.com/office/drawing/2014/chart" uri="{C3380CC4-5D6E-409C-BE32-E72D297353CC}">
                <c16:uniqueId val="{00000006-76BE-4785-B44A-00BDBB4E8D44}"/>
              </c:ext>
            </c:extLst>
          </c:dPt>
          <c:errBars>
            <c:errDir val="y"/>
            <c:errBarType val="both"/>
            <c:errValType val="fixedVal"/>
            <c:noEndCap val="0"/>
            <c:val val="0.1"/>
          </c:errBars>
          <c:errBars>
            <c:errDir val="x"/>
            <c:errBarType val="both"/>
            <c:errValType val="cust"/>
            <c:noEndCap val="0"/>
            <c:plus>
              <c:numRef>
                <c:f>Sheet1!$H$3:$H$34</c:f>
                <c:numCache>
                  <c:formatCode>General</c:formatCode>
                  <c:ptCount val="32"/>
                  <c:pt idx="0">
                    <c:v>0.12</c:v>
                  </c:pt>
                  <c:pt idx="2">
                    <c:v>0.24</c:v>
                  </c:pt>
                  <c:pt idx="3">
                    <c:v>0.14999999999999991</c:v>
                  </c:pt>
                  <c:pt idx="5">
                    <c:v>0.16999999999999993</c:v>
                  </c:pt>
                  <c:pt idx="6">
                    <c:v>0.18999999999999995</c:v>
                  </c:pt>
                  <c:pt idx="8">
                    <c:v>0.16000000000000003</c:v>
                  </c:pt>
                  <c:pt idx="9">
                    <c:v>0.19999999999999996</c:v>
                  </c:pt>
                  <c:pt idx="11">
                    <c:v>0.36999999999999988</c:v>
                  </c:pt>
                  <c:pt idx="12">
                    <c:v>0.17000000000000004</c:v>
                  </c:pt>
                  <c:pt idx="13">
                    <c:v>0.25</c:v>
                  </c:pt>
                  <c:pt idx="15">
                    <c:v>0.15999999999999992</c:v>
                  </c:pt>
                  <c:pt idx="16">
                    <c:v>0.21000000000000008</c:v>
                  </c:pt>
                  <c:pt idx="18">
                    <c:v>0.43000000000000005</c:v>
                  </c:pt>
                  <c:pt idx="19">
                    <c:v>0.14000000000000001</c:v>
                  </c:pt>
                  <c:pt idx="21">
                    <c:v>0.15000000000000002</c:v>
                  </c:pt>
                  <c:pt idx="22">
                    <c:v>0.27999999999999992</c:v>
                  </c:pt>
                  <c:pt idx="24">
                    <c:v>0.63</c:v>
                  </c:pt>
                  <c:pt idx="25">
                    <c:v>0.13</c:v>
                  </c:pt>
                  <c:pt idx="27">
                    <c:v>0.20000000000000007</c:v>
                  </c:pt>
                  <c:pt idx="28">
                    <c:v>0.17000000000000004</c:v>
                  </c:pt>
                  <c:pt idx="30">
                    <c:v>0.18000000000000005</c:v>
                  </c:pt>
                  <c:pt idx="31">
                    <c:v>0.20000000000000007</c:v>
                  </c:pt>
                </c:numCache>
              </c:numRef>
            </c:plus>
            <c:minus>
              <c:numRef>
                <c:f>Sheet1!$G$3:$G$34</c:f>
                <c:numCache>
                  <c:formatCode>General</c:formatCode>
                  <c:ptCount val="32"/>
                  <c:pt idx="0">
                    <c:v>0.1100000000000001</c:v>
                  </c:pt>
                  <c:pt idx="2">
                    <c:v>0.18000000000000005</c:v>
                  </c:pt>
                  <c:pt idx="3">
                    <c:v>0.13</c:v>
                  </c:pt>
                  <c:pt idx="5">
                    <c:v>0.15000000000000002</c:v>
                  </c:pt>
                  <c:pt idx="6">
                    <c:v>0.15000000000000002</c:v>
                  </c:pt>
                  <c:pt idx="8">
                    <c:v>0.13</c:v>
                  </c:pt>
                  <c:pt idx="9">
                    <c:v>0.15999999999999992</c:v>
                  </c:pt>
                  <c:pt idx="11">
                    <c:v>0.26</c:v>
                  </c:pt>
                  <c:pt idx="12">
                    <c:v>0.14000000000000001</c:v>
                  </c:pt>
                  <c:pt idx="13">
                    <c:v>0.17999999999999994</c:v>
                  </c:pt>
                  <c:pt idx="15">
                    <c:v>0.14000000000000001</c:v>
                  </c:pt>
                  <c:pt idx="16">
                    <c:v>0.15999999999999992</c:v>
                  </c:pt>
                  <c:pt idx="18">
                    <c:v>0.26</c:v>
                  </c:pt>
                  <c:pt idx="19">
                    <c:v>0.10999999999999999</c:v>
                  </c:pt>
                  <c:pt idx="21">
                    <c:v>0.12</c:v>
                  </c:pt>
                  <c:pt idx="22">
                    <c:v>0.21999999999999997</c:v>
                  </c:pt>
                  <c:pt idx="24">
                    <c:v>0.36</c:v>
                  </c:pt>
                  <c:pt idx="25">
                    <c:v>0.1100000000000001</c:v>
                  </c:pt>
                  <c:pt idx="27">
                    <c:v>0.15000000000000002</c:v>
                  </c:pt>
                  <c:pt idx="28">
                    <c:v>0.14000000000000001</c:v>
                  </c:pt>
                  <c:pt idx="30">
                    <c:v>0.14000000000000001</c:v>
                  </c:pt>
                  <c:pt idx="31">
                    <c:v>0.15000000000000002</c:v>
                  </c:pt>
                </c:numCache>
              </c:numRef>
            </c:minus>
            <c:spPr>
              <a:ln w="15875">
                <a:solidFill>
                  <a:schemeClr val="tx1"/>
                </a:solidFill>
              </a:ln>
            </c:spPr>
          </c:errBars>
          <c:xVal>
            <c:numRef>
              <c:f>Sheet1!$D$3:$D$34</c:f>
              <c:numCache>
                <c:formatCode>General</c:formatCode>
                <c:ptCount val="32"/>
                <c:pt idx="0">
                  <c:v>0.81</c:v>
                </c:pt>
                <c:pt idx="2">
                  <c:v>0.8</c:v>
                </c:pt>
                <c:pt idx="3">
                  <c:v>0.79</c:v>
                </c:pt>
                <c:pt idx="5">
                  <c:v>0.8</c:v>
                </c:pt>
                <c:pt idx="6">
                  <c:v>0.81</c:v>
                </c:pt>
                <c:pt idx="8">
                  <c:v>0.64</c:v>
                </c:pt>
                <c:pt idx="9">
                  <c:v>0.95</c:v>
                </c:pt>
                <c:pt idx="11">
                  <c:v>0.79</c:v>
                </c:pt>
                <c:pt idx="12">
                  <c:v>0.84</c:v>
                </c:pt>
                <c:pt idx="13">
                  <c:v>0.69</c:v>
                </c:pt>
                <c:pt idx="15">
                  <c:v>0.78</c:v>
                </c:pt>
                <c:pt idx="16">
                  <c:v>0.82</c:v>
                </c:pt>
                <c:pt idx="18">
                  <c:v>0.66</c:v>
                </c:pt>
                <c:pt idx="19">
                  <c:v>0.82</c:v>
                </c:pt>
                <c:pt idx="21">
                  <c:v>0.76</c:v>
                </c:pt>
                <c:pt idx="22">
                  <c:v>0.89</c:v>
                </c:pt>
                <c:pt idx="24">
                  <c:v>0.86</c:v>
                </c:pt>
                <c:pt idx="25">
                  <c:v>0.8</c:v>
                </c:pt>
                <c:pt idx="27">
                  <c:v>0.87</c:v>
                </c:pt>
                <c:pt idx="28">
                  <c:v>0.74</c:v>
                </c:pt>
                <c:pt idx="30">
                  <c:v>0.85</c:v>
                </c:pt>
                <c:pt idx="31">
                  <c:v>0.72</c:v>
                </c:pt>
              </c:numCache>
            </c:numRef>
          </c:xVal>
          <c:yVal>
            <c:numRef>
              <c:f>Sheet1!$C$3:$C$34</c:f>
              <c:numCache>
                <c:formatCode>General</c:formatCode>
                <c:ptCount val="32"/>
                <c:pt idx="0">
                  <c:v>32</c:v>
                </c:pt>
                <c:pt idx="1">
                  <c:v>31</c:v>
                </c:pt>
                <c:pt idx="2">
                  <c:v>30</c:v>
                </c:pt>
                <c:pt idx="3">
                  <c:v>29</c:v>
                </c:pt>
                <c:pt idx="4">
                  <c:v>28</c:v>
                </c:pt>
                <c:pt idx="5">
                  <c:v>27</c:v>
                </c:pt>
                <c:pt idx="6">
                  <c:v>26</c:v>
                </c:pt>
                <c:pt idx="7">
                  <c:v>25</c:v>
                </c:pt>
                <c:pt idx="8">
                  <c:v>24</c:v>
                </c:pt>
                <c:pt idx="9">
                  <c:v>23</c:v>
                </c:pt>
                <c:pt idx="10">
                  <c:v>22</c:v>
                </c:pt>
                <c:pt idx="11">
                  <c:v>21</c:v>
                </c:pt>
                <c:pt idx="12">
                  <c:v>20</c:v>
                </c:pt>
                <c:pt idx="13">
                  <c:v>19</c:v>
                </c:pt>
                <c:pt idx="14">
                  <c:v>18</c:v>
                </c:pt>
                <c:pt idx="15">
                  <c:v>17</c:v>
                </c:pt>
                <c:pt idx="16">
                  <c:v>16</c:v>
                </c:pt>
                <c:pt idx="17">
                  <c:v>15</c:v>
                </c:pt>
                <c:pt idx="18">
                  <c:v>14</c:v>
                </c:pt>
                <c:pt idx="19">
                  <c:v>13</c:v>
                </c:pt>
                <c:pt idx="20">
                  <c:v>12</c:v>
                </c:pt>
                <c:pt idx="21">
                  <c:v>11</c:v>
                </c:pt>
                <c:pt idx="22">
                  <c:v>10</c:v>
                </c:pt>
                <c:pt idx="23">
                  <c:v>9</c:v>
                </c:pt>
                <c:pt idx="24">
                  <c:v>8</c:v>
                </c:pt>
                <c:pt idx="25">
                  <c:v>7</c:v>
                </c:pt>
                <c:pt idx="26">
                  <c:v>6</c:v>
                </c:pt>
                <c:pt idx="27">
                  <c:v>5</c:v>
                </c:pt>
                <c:pt idx="28">
                  <c:v>4</c:v>
                </c:pt>
                <c:pt idx="30">
                  <c:v>2</c:v>
                </c:pt>
                <c:pt idx="31">
                  <c:v>1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7-76BE-4785-B44A-00BDBB4E8D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17936640"/>
        <c:axId val="517938176"/>
      </c:scatterChart>
      <c:valAx>
        <c:axId val="517936640"/>
        <c:scaling>
          <c:logBase val="10"/>
          <c:orientation val="minMax"/>
          <c:max val="2"/>
          <c:min val="0.2"/>
        </c:scaling>
        <c:delete val="0"/>
        <c:axPos val="b"/>
        <c:numFmt formatCode="General" sourceLinked="1"/>
        <c:majorTickMark val="out"/>
        <c:minorTickMark val="out"/>
        <c:tickLblPos val="nextTo"/>
        <c:spPr>
          <a:noFill/>
          <a:ln w="25400" cap="sq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Imago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517938176"/>
        <c:crosses val="autoZero"/>
        <c:crossBetween val="midCat"/>
      </c:valAx>
      <c:valAx>
        <c:axId val="517938176"/>
        <c:scaling>
          <c:orientation val="minMax"/>
          <c:max val="32.5"/>
          <c:min val="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85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alpha val="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517936640"/>
        <c:crossesAt val="1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636486724704887E-2"/>
          <c:y val="1.9978017439078843E-2"/>
          <c:w val="0.93072702655059025"/>
          <c:h val="0.9543359601392483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raction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second</c:v>
                </c:pt>
                <c:pt idx="1">
                  <c:v>First 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7.7</c:v>
                </c:pt>
                <c:pt idx="1">
                  <c:v>1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85-47F6-BF9B-F47BBA0913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ollow-up</c:v>
                </c:pt>
              </c:strCache>
            </c:strRef>
          </c:tx>
          <c:spPr>
            <a:solidFill>
              <a:srgbClr val="E7E9EC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second</c:v>
                </c:pt>
                <c:pt idx="1">
                  <c:v>First 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8</c:v>
                </c:pt>
                <c:pt idx="1">
                  <c:v>1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85-47F6-BF9B-F47BBA0913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1"/>
        <c:overlap val="-15"/>
        <c:axId val="471646208"/>
        <c:axId val="471647744"/>
      </c:barChart>
      <c:catAx>
        <c:axId val="4716462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71647744"/>
        <c:crosses val="autoZero"/>
        <c:auto val="1"/>
        <c:lblAlgn val="ctr"/>
        <c:lblOffset val="100"/>
        <c:noMultiLvlLbl val="0"/>
      </c:catAx>
      <c:valAx>
        <c:axId val="471647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47164620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2000"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79006962972603E-2"/>
          <c:y val="2.2883878024256264E-2"/>
          <c:w val="0.93208742625317298"/>
          <c:h val="0.95043538970971886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>
              <a:outerShdw dist="25400" dir="2700000" algn="tl" rotWithShape="0">
                <a:schemeClr val="accent1"/>
              </a:outerShdw>
            </a:effectLst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B65F-4B3D-B1DA-7F8C694831B1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B65F-4B3D-B1DA-7F8C694831B1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B65F-4B3D-B1DA-7F8C694831B1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B65F-4B3D-B1DA-7F8C694831B1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B65F-4B3D-B1DA-7F8C694831B1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5-B65F-4B3D-B1DA-7F8C694831B1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6-B65F-4B3D-B1DA-7F8C694831B1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7-B65F-4B3D-B1DA-7F8C694831B1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8-B65F-4B3D-B1DA-7F8C694831B1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9-B65F-4B3D-B1DA-7F8C694831B1}"/>
              </c:ext>
            </c:extLst>
          </c:dPt>
          <c:dPt>
            <c:idx val="12"/>
            <c:bubble3D val="0"/>
            <c:extLst>
              <c:ext xmlns:c16="http://schemas.microsoft.com/office/drawing/2014/chart" uri="{C3380CC4-5D6E-409C-BE32-E72D297353CC}">
                <c16:uniqueId val="{0000000A-B65F-4B3D-B1DA-7F8C694831B1}"/>
              </c:ext>
            </c:extLst>
          </c:dPt>
          <c:dPt>
            <c:idx val="13"/>
            <c:bubble3D val="0"/>
            <c:extLst>
              <c:ext xmlns:c16="http://schemas.microsoft.com/office/drawing/2014/chart" uri="{C3380CC4-5D6E-409C-BE32-E72D297353CC}">
                <c16:uniqueId val="{0000000B-B65F-4B3D-B1DA-7F8C694831B1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C-B65F-4B3D-B1DA-7F8C694831B1}"/>
              </c:ext>
            </c:extLst>
          </c:dPt>
          <c:dPt>
            <c:idx val="16"/>
            <c:bubble3D val="0"/>
            <c:extLst>
              <c:ext xmlns:c16="http://schemas.microsoft.com/office/drawing/2014/chart" uri="{C3380CC4-5D6E-409C-BE32-E72D297353CC}">
                <c16:uniqueId val="{0000000D-B65F-4B3D-B1DA-7F8C694831B1}"/>
              </c:ext>
            </c:extLst>
          </c:dPt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E-B65F-4B3D-B1DA-7F8C694831B1}"/>
              </c:ext>
            </c:extLst>
          </c:dPt>
          <c:dPt>
            <c:idx val="19"/>
            <c:bubble3D val="0"/>
            <c:extLst>
              <c:ext xmlns:c16="http://schemas.microsoft.com/office/drawing/2014/chart" uri="{C3380CC4-5D6E-409C-BE32-E72D297353CC}">
                <c16:uniqueId val="{0000000F-B65F-4B3D-B1DA-7F8C694831B1}"/>
              </c:ext>
            </c:extLst>
          </c:dPt>
          <c:dPt>
            <c:idx val="20"/>
            <c:bubble3D val="0"/>
            <c:extLst>
              <c:ext xmlns:c16="http://schemas.microsoft.com/office/drawing/2014/chart" uri="{C3380CC4-5D6E-409C-BE32-E72D297353CC}">
                <c16:uniqueId val="{00000010-B65F-4B3D-B1DA-7F8C694831B1}"/>
              </c:ext>
            </c:extLst>
          </c:dPt>
          <c:dPt>
            <c:idx val="22"/>
            <c:bubble3D val="0"/>
            <c:extLst>
              <c:ext xmlns:c16="http://schemas.microsoft.com/office/drawing/2014/chart" uri="{C3380CC4-5D6E-409C-BE32-E72D297353CC}">
                <c16:uniqueId val="{00000011-B65F-4B3D-B1DA-7F8C694831B1}"/>
              </c:ext>
            </c:extLst>
          </c:dPt>
          <c:dPt>
            <c:idx val="23"/>
            <c:bubble3D val="0"/>
            <c:extLst>
              <c:ext xmlns:c16="http://schemas.microsoft.com/office/drawing/2014/chart" uri="{C3380CC4-5D6E-409C-BE32-E72D297353CC}">
                <c16:uniqueId val="{00000012-B65F-4B3D-B1DA-7F8C694831B1}"/>
              </c:ext>
            </c:extLst>
          </c:dPt>
          <c:dPt>
            <c:idx val="25"/>
            <c:bubble3D val="0"/>
            <c:extLst>
              <c:ext xmlns:c16="http://schemas.microsoft.com/office/drawing/2014/chart" uri="{C3380CC4-5D6E-409C-BE32-E72D297353CC}">
                <c16:uniqueId val="{00000013-B65F-4B3D-B1DA-7F8C694831B1}"/>
              </c:ext>
            </c:extLst>
          </c:dPt>
          <c:dPt>
            <c:idx val="26"/>
            <c:bubble3D val="0"/>
            <c:extLst>
              <c:ext xmlns:c16="http://schemas.microsoft.com/office/drawing/2014/chart" uri="{C3380CC4-5D6E-409C-BE32-E72D297353CC}">
                <c16:uniqueId val="{00000014-B65F-4B3D-B1DA-7F8C694831B1}"/>
              </c:ext>
            </c:extLst>
          </c:dPt>
          <c:dPt>
            <c:idx val="28"/>
            <c:bubble3D val="0"/>
            <c:extLst>
              <c:ext xmlns:c16="http://schemas.microsoft.com/office/drawing/2014/chart" uri="{C3380CC4-5D6E-409C-BE32-E72D297353CC}">
                <c16:uniqueId val="{00000015-B65F-4B3D-B1DA-7F8C694831B1}"/>
              </c:ext>
            </c:extLst>
          </c:dPt>
          <c:dPt>
            <c:idx val="29"/>
            <c:bubble3D val="0"/>
            <c:extLst>
              <c:ext xmlns:c16="http://schemas.microsoft.com/office/drawing/2014/chart" uri="{C3380CC4-5D6E-409C-BE32-E72D297353CC}">
                <c16:uniqueId val="{00000016-B65F-4B3D-B1DA-7F8C694831B1}"/>
              </c:ext>
            </c:extLst>
          </c:dPt>
          <c:dPt>
            <c:idx val="32"/>
            <c:bubble3D val="0"/>
            <c:extLst>
              <c:ext xmlns:c16="http://schemas.microsoft.com/office/drawing/2014/chart" uri="{C3380CC4-5D6E-409C-BE32-E72D297353CC}">
                <c16:uniqueId val="{00000017-B65F-4B3D-B1DA-7F8C694831B1}"/>
              </c:ext>
            </c:extLst>
          </c:dPt>
          <c:dPt>
            <c:idx val="33"/>
            <c:bubble3D val="0"/>
            <c:extLst>
              <c:ext xmlns:c16="http://schemas.microsoft.com/office/drawing/2014/chart" uri="{C3380CC4-5D6E-409C-BE32-E72D297353CC}">
                <c16:uniqueId val="{00000018-B65F-4B3D-B1DA-7F8C694831B1}"/>
              </c:ext>
            </c:extLst>
          </c:dPt>
          <c:errBars>
            <c:errDir val="x"/>
            <c:errBarType val="both"/>
            <c:errValType val="cust"/>
            <c:noEndCap val="0"/>
            <c:plus>
              <c:numRef>
                <c:f>Sheet1!$H$3:$H$31</c:f>
                <c:numCache>
                  <c:formatCode>General</c:formatCode>
                  <c:ptCount val="29"/>
                  <c:pt idx="0">
                    <c:v>0.15000000000000002</c:v>
                  </c:pt>
                  <c:pt idx="2">
                    <c:v>0.37999999999999989</c:v>
                  </c:pt>
                  <c:pt idx="3">
                    <c:v>0.19000000000000006</c:v>
                  </c:pt>
                  <c:pt idx="4">
                    <c:v>0.33999999999999997</c:v>
                  </c:pt>
                  <c:pt idx="6">
                    <c:v>0.17000000000000004</c:v>
                  </c:pt>
                  <c:pt idx="7">
                    <c:v>0.56000000000000005</c:v>
                  </c:pt>
                  <c:pt idx="8">
                    <c:v>0.7400000000000001</c:v>
                  </c:pt>
                  <c:pt idx="9">
                    <c:v>0.8</c:v>
                  </c:pt>
                  <c:pt idx="11">
                    <c:v>0.19000000000000006</c:v>
                  </c:pt>
                  <c:pt idx="12">
                    <c:v>0.23000000000000009</c:v>
                  </c:pt>
                  <c:pt idx="14">
                    <c:v>0.21999999999999997</c:v>
                  </c:pt>
                  <c:pt idx="15">
                    <c:v>0.20999999999999996</c:v>
                  </c:pt>
                  <c:pt idx="17">
                    <c:v>0.25000000000000011</c:v>
                  </c:pt>
                  <c:pt idx="18">
                    <c:v>0.18000000000000005</c:v>
                  </c:pt>
                  <c:pt idx="20">
                    <c:v>0.22999999999999998</c:v>
                  </c:pt>
                  <c:pt idx="21">
                    <c:v>0.19000000000000006</c:v>
                  </c:pt>
                </c:numCache>
              </c:numRef>
            </c:plus>
            <c:minus>
              <c:numRef>
                <c:f>Sheet1!$G$3:$G$31</c:f>
                <c:numCache>
                  <c:formatCode>General</c:formatCode>
                  <c:ptCount val="29"/>
                  <c:pt idx="0">
                    <c:v>0.12</c:v>
                  </c:pt>
                  <c:pt idx="2">
                    <c:v>0.25</c:v>
                  </c:pt>
                  <c:pt idx="3">
                    <c:v>0.15000000000000002</c:v>
                  </c:pt>
                  <c:pt idx="4">
                    <c:v>0.25</c:v>
                  </c:pt>
                  <c:pt idx="6">
                    <c:v>0.13</c:v>
                  </c:pt>
                  <c:pt idx="7">
                    <c:v>0.36999999999999988</c:v>
                  </c:pt>
                  <c:pt idx="8">
                    <c:v>0.38999999999999996</c:v>
                  </c:pt>
                  <c:pt idx="9">
                    <c:v>0.48</c:v>
                  </c:pt>
                  <c:pt idx="11">
                    <c:v>0.15999999999999992</c:v>
                  </c:pt>
                  <c:pt idx="12">
                    <c:v>0.18000000000000005</c:v>
                  </c:pt>
                  <c:pt idx="14">
                    <c:v>0.16999999999999993</c:v>
                  </c:pt>
                  <c:pt idx="15">
                    <c:v>0.16000000000000003</c:v>
                  </c:pt>
                  <c:pt idx="17">
                    <c:v>0.19999999999999996</c:v>
                  </c:pt>
                  <c:pt idx="18">
                    <c:v>0.15000000000000002</c:v>
                  </c:pt>
                  <c:pt idx="20">
                    <c:v>0.18000000000000005</c:v>
                  </c:pt>
                  <c:pt idx="21">
                    <c:v>0.14999999999999991</c:v>
                  </c:pt>
                </c:numCache>
              </c:numRef>
            </c:minus>
            <c:spPr>
              <a:ln>
                <a:solidFill>
                  <a:schemeClr val="tx1"/>
                </a:solidFill>
              </a:ln>
            </c:spPr>
          </c:errBars>
          <c:xVal>
            <c:numRef>
              <c:f>Sheet1!$D$3:$D$31</c:f>
              <c:numCache>
                <c:formatCode>General</c:formatCode>
                <c:ptCount val="29"/>
                <c:pt idx="0">
                  <c:v>0.88</c:v>
                </c:pt>
                <c:pt idx="2">
                  <c:v>0.77</c:v>
                </c:pt>
                <c:pt idx="3">
                  <c:v>0.88</c:v>
                </c:pt>
                <c:pt idx="4">
                  <c:v>0.92</c:v>
                </c:pt>
                <c:pt idx="6">
                  <c:v>0.82</c:v>
                </c:pt>
                <c:pt idx="7">
                  <c:v>1.1599999999999999</c:v>
                </c:pt>
                <c:pt idx="8">
                  <c:v>0.85</c:v>
                </c:pt>
                <c:pt idx="9">
                  <c:v>1.19</c:v>
                </c:pt>
                <c:pt idx="11">
                  <c:v>0.84</c:v>
                </c:pt>
                <c:pt idx="12">
                  <c:v>0.89</c:v>
                </c:pt>
                <c:pt idx="14">
                  <c:v>0.94</c:v>
                </c:pt>
                <c:pt idx="15">
                  <c:v>0.81</c:v>
                </c:pt>
                <c:pt idx="17">
                  <c:v>0.82</c:v>
                </c:pt>
                <c:pt idx="18">
                  <c:v>0.89</c:v>
                </c:pt>
                <c:pt idx="20">
                  <c:v>1.05</c:v>
                </c:pt>
                <c:pt idx="21">
                  <c:v>0.69</c:v>
                </c:pt>
              </c:numCache>
            </c:numRef>
          </c:xVal>
          <c:yVal>
            <c:numRef>
              <c:f>Sheet1!$C$3:$C$26</c:f>
              <c:numCache>
                <c:formatCode>General</c:formatCode>
                <c:ptCount val="24"/>
                <c:pt idx="0">
                  <c:v>22</c:v>
                </c:pt>
                <c:pt idx="2">
                  <c:v>20</c:v>
                </c:pt>
                <c:pt idx="3">
                  <c:v>19</c:v>
                </c:pt>
                <c:pt idx="4">
                  <c:v>18</c:v>
                </c:pt>
                <c:pt idx="6">
                  <c:v>16</c:v>
                </c:pt>
                <c:pt idx="7">
                  <c:v>15</c:v>
                </c:pt>
                <c:pt idx="8">
                  <c:v>14</c:v>
                </c:pt>
                <c:pt idx="9">
                  <c:v>13</c:v>
                </c:pt>
                <c:pt idx="11">
                  <c:v>11</c:v>
                </c:pt>
                <c:pt idx="12">
                  <c:v>10</c:v>
                </c:pt>
                <c:pt idx="14">
                  <c:v>8</c:v>
                </c:pt>
                <c:pt idx="15">
                  <c:v>7</c:v>
                </c:pt>
                <c:pt idx="17">
                  <c:v>5</c:v>
                </c:pt>
                <c:pt idx="18">
                  <c:v>4</c:v>
                </c:pt>
                <c:pt idx="20">
                  <c:v>2</c:v>
                </c:pt>
                <c:pt idx="21">
                  <c:v>1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19-B65F-4B3D-B1DA-7F8C69483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217408"/>
        <c:axId val="35218944"/>
      </c:scatterChart>
      <c:valAx>
        <c:axId val="35217408"/>
        <c:scaling>
          <c:logBase val="10"/>
          <c:orientation val="minMax"/>
          <c:max val="2.1"/>
          <c:min val="0.30000000000000004"/>
        </c:scaling>
        <c:delete val="0"/>
        <c:axPos val="b"/>
        <c:numFmt formatCode="General" sourceLinked="0"/>
        <c:majorTickMark val="out"/>
        <c:minorTickMark val="out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35218944"/>
        <c:crosses val="autoZero"/>
        <c:crossBetween val="midCat"/>
      </c:valAx>
      <c:valAx>
        <c:axId val="35218944"/>
        <c:scaling>
          <c:orientation val="minMax"/>
          <c:max val="22.5"/>
          <c:min val="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alpha val="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217408"/>
        <c:crossesAt val="1"/>
        <c:crossBetween val="midCat"/>
        <c:majorUnit val="1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38131080400407"/>
          <c:y val="2.2708553078347331E-2"/>
          <c:w val="0.93208742625317298"/>
          <c:h val="0.95043538970971886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>
              <a:outerShdw dist="25400" dir="2700000" algn="tl" rotWithShape="0">
                <a:schemeClr val="accent1"/>
              </a:outerShdw>
            </a:effectLst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777F-424C-8A97-468BFC812D47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777F-424C-8A97-468BFC812D4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777F-424C-8A97-468BFC812D47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777F-424C-8A97-468BFC812D47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777F-424C-8A97-468BFC812D47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5-777F-424C-8A97-468BFC812D47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6-777F-424C-8A97-468BFC812D47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7-777F-424C-8A97-468BFC812D47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8-777F-424C-8A97-468BFC812D47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9-777F-424C-8A97-468BFC812D47}"/>
              </c:ext>
            </c:extLst>
          </c:dPt>
          <c:dPt>
            <c:idx val="12"/>
            <c:bubble3D val="0"/>
            <c:extLst>
              <c:ext xmlns:c16="http://schemas.microsoft.com/office/drawing/2014/chart" uri="{C3380CC4-5D6E-409C-BE32-E72D297353CC}">
                <c16:uniqueId val="{0000000A-777F-424C-8A97-468BFC812D47}"/>
              </c:ext>
            </c:extLst>
          </c:dPt>
          <c:dPt>
            <c:idx val="13"/>
            <c:bubble3D val="0"/>
            <c:extLst>
              <c:ext xmlns:c16="http://schemas.microsoft.com/office/drawing/2014/chart" uri="{C3380CC4-5D6E-409C-BE32-E72D297353CC}">
                <c16:uniqueId val="{0000000B-777F-424C-8A97-468BFC812D47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C-777F-424C-8A97-468BFC812D47}"/>
              </c:ext>
            </c:extLst>
          </c:dPt>
          <c:dPt>
            <c:idx val="16"/>
            <c:bubble3D val="0"/>
            <c:extLst>
              <c:ext xmlns:c16="http://schemas.microsoft.com/office/drawing/2014/chart" uri="{C3380CC4-5D6E-409C-BE32-E72D297353CC}">
                <c16:uniqueId val="{0000000D-777F-424C-8A97-468BFC812D47}"/>
              </c:ext>
            </c:extLst>
          </c:dPt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E-777F-424C-8A97-468BFC812D47}"/>
              </c:ext>
            </c:extLst>
          </c:dPt>
          <c:dPt>
            <c:idx val="19"/>
            <c:bubble3D val="0"/>
            <c:extLst>
              <c:ext xmlns:c16="http://schemas.microsoft.com/office/drawing/2014/chart" uri="{C3380CC4-5D6E-409C-BE32-E72D297353CC}">
                <c16:uniqueId val="{0000000F-777F-424C-8A97-468BFC812D47}"/>
              </c:ext>
            </c:extLst>
          </c:dPt>
          <c:dPt>
            <c:idx val="20"/>
            <c:bubble3D val="0"/>
            <c:extLst>
              <c:ext xmlns:c16="http://schemas.microsoft.com/office/drawing/2014/chart" uri="{C3380CC4-5D6E-409C-BE32-E72D297353CC}">
                <c16:uniqueId val="{00000010-777F-424C-8A97-468BFC812D47}"/>
              </c:ext>
            </c:extLst>
          </c:dPt>
          <c:dPt>
            <c:idx val="22"/>
            <c:bubble3D val="0"/>
            <c:extLst>
              <c:ext xmlns:c16="http://schemas.microsoft.com/office/drawing/2014/chart" uri="{C3380CC4-5D6E-409C-BE32-E72D297353CC}">
                <c16:uniqueId val="{00000011-777F-424C-8A97-468BFC812D47}"/>
              </c:ext>
            </c:extLst>
          </c:dPt>
          <c:dPt>
            <c:idx val="23"/>
            <c:bubble3D val="0"/>
            <c:extLst>
              <c:ext xmlns:c16="http://schemas.microsoft.com/office/drawing/2014/chart" uri="{C3380CC4-5D6E-409C-BE32-E72D297353CC}">
                <c16:uniqueId val="{00000012-777F-424C-8A97-468BFC812D47}"/>
              </c:ext>
            </c:extLst>
          </c:dPt>
          <c:dPt>
            <c:idx val="25"/>
            <c:bubble3D val="0"/>
            <c:extLst>
              <c:ext xmlns:c16="http://schemas.microsoft.com/office/drawing/2014/chart" uri="{C3380CC4-5D6E-409C-BE32-E72D297353CC}">
                <c16:uniqueId val="{00000013-777F-424C-8A97-468BFC812D47}"/>
              </c:ext>
            </c:extLst>
          </c:dPt>
          <c:dPt>
            <c:idx val="26"/>
            <c:bubble3D val="0"/>
            <c:extLst>
              <c:ext xmlns:c16="http://schemas.microsoft.com/office/drawing/2014/chart" uri="{C3380CC4-5D6E-409C-BE32-E72D297353CC}">
                <c16:uniqueId val="{00000014-777F-424C-8A97-468BFC812D47}"/>
              </c:ext>
            </c:extLst>
          </c:dPt>
          <c:dPt>
            <c:idx val="28"/>
            <c:bubble3D val="0"/>
            <c:extLst>
              <c:ext xmlns:c16="http://schemas.microsoft.com/office/drawing/2014/chart" uri="{C3380CC4-5D6E-409C-BE32-E72D297353CC}">
                <c16:uniqueId val="{00000015-777F-424C-8A97-468BFC812D47}"/>
              </c:ext>
            </c:extLst>
          </c:dPt>
          <c:dPt>
            <c:idx val="29"/>
            <c:bubble3D val="0"/>
            <c:extLst>
              <c:ext xmlns:c16="http://schemas.microsoft.com/office/drawing/2014/chart" uri="{C3380CC4-5D6E-409C-BE32-E72D297353CC}">
                <c16:uniqueId val="{00000016-777F-424C-8A97-468BFC812D47}"/>
              </c:ext>
            </c:extLst>
          </c:dPt>
          <c:dPt>
            <c:idx val="32"/>
            <c:bubble3D val="0"/>
            <c:extLst>
              <c:ext xmlns:c16="http://schemas.microsoft.com/office/drawing/2014/chart" uri="{C3380CC4-5D6E-409C-BE32-E72D297353CC}">
                <c16:uniqueId val="{00000017-777F-424C-8A97-468BFC812D47}"/>
              </c:ext>
            </c:extLst>
          </c:dPt>
          <c:dPt>
            <c:idx val="33"/>
            <c:bubble3D val="0"/>
            <c:extLst>
              <c:ext xmlns:c16="http://schemas.microsoft.com/office/drawing/2014/chart" uri="{C3380CC4-5D6E-409C-BE32-E72D297353CC}">
                <c16:uniqueId val="{00000018-777F-424C-8A97-468BFC812D47}"/>
              </c:ext>
            </c:extLst>
          </c:dPt>
          <c:errBars>
            <c:errDir val="x"/>
            <c:errBarType val="both"/>
            <c:errValType val="cust"/>
            <c:noEndCap val="0"/>
            <c:plus>
              <c:numRef>
                <c:f>Sheet1!$H$3:$H$33</c:f>
                <c:numCache>
                  <c:formatCode>General</c:formatCode>
                  <c:ptCount val="31"/>
                  <c:pt idx="0">
                    <c:v>0.19000000000000006</c:v>
                  </c:pt>
                  <c:pt idx="2">
                    <c:v>0.52999999999999992</c:v>
                  </c:pt>
                  <c:pt idx="3">
                    <c:v>0.26</c:v>
                  </c:pt>
                  <c:pt idx="4">
                    <c:v>0.45999999999999985</c:v>
                  </c:pt>
                  <c:pt idx="6">
                    <c:v>0.21999999999999997</c:v>
                  </c:pt>
                  <c:pt idx="7">
                    <c:v>0.91999999999999993</c:v>
                  </c:pt>
                  <c:pt idx="8">
                    <c:v>0.61</c:v>
                  </c:pt>
                  <c:pt idx="9">
                    <c:v>1.6700000000000002</c:v>
                  </c:pt>
                  <c:pt idx="11">
                    <c:v>0.27</c:v>
                  </c:pt>
                  <c:pt idx="12">
                    <c:v>0.29000000000000004</c:v>
                  </c:pt>
                  <c:pt idx="16">
                    <c:v>0.31999999999999995</c:v>
                  </c:pt>
                  <c:pt idx="17">
                    <c:v>0.25</c:v>
                  </c:pt>
                  <c:pt idx="19">
                    <c:v>0.4</c:v>
                  </c:pt>
                  <c:pt idx="20">
                    <c:v>0.22999999999999998</c:v>
                  </c:pt>
                </c:numCache>
              </c:numRef>
            </c:plus>
            <c:minus>
              <c:numRef>
                <c:f>Sheet1!$G$3:$G$33</c:f>
                <c:numCache>
                  <c:formatCode>General</c:formatCode>
                  <c:ptCount val="31"/>
                  <c:pt idx="0">
                    <c:v>0.14999999999999991</c:v>
                  </c:pt>
                  <c:pt idx="2">
                    <c:v>0.30000000000000004</c:v>
                  </c:pt>
                  <c:pt idx="3">
                    <c:v>0.18999999999999995</c:v>
                  </c:pt>
                  <c:pt idx="4">
                    <c:v>0.27</c:v>
                  </c:pt>
                  <c:pt idx="6">
                    <c:v>0.16000000000000003</c:v>
                  </c:pt>
                  <c:pt idx="7">
                    <c:v>0.50000000000000011</c:v>
                  </c:pt>
                  <c:pt idx="8">
                    <c:v>0.16</c:v>
                  </c:pt>
                  <c:pt idx="9">
                    <c:v>0.7</c:v>
                  </c:pt>
                  <c:pt idx="11">
                    <c:v>0.18999999999999995</c:v>
                  </c:pt>
                  <c:pt idx="12">
                    <c:v>0.19</c:v>
                  </c:pt>
                  <c:pt idx="16">
                    <c:v>0.24</c:v>
                  </c:pt>
                  <c:pt idx="17">
                    <c:v>0.17000000000000004</c:v>
                  </c:pt>
                  <c:pt idx="19">
                    <c:v>0.25</c:v>
                  </c:pt>
                  <c:pt idx="20">
                    <c:v>0.17000000000000004</c:v>
                  </c:pt>
                </c:numCache>
              </c:numRef>
            </c:minus>
            <c:spPr>
              <a:ln>
                <a:solidFill>
                  <a:schemeClr val="tx1"/>
                </a:solidFill>
              </a:ln>
            </c:spPr>
          </c:errBars>
          <c:xVal>
            <c:numRef>
              <c:f>Sheet1!$D$3:$D$33</c:f>
              <c:numCache>
                <c:formatCode>General</c:formatCode>
                <c:ptCount val="31"/>
                <c:pt idx="0">
                  <c:v>0.69</c:v>
                </c:pt>
                <c:pt idx="2">
                  <c:v>0.66</c:v>
                </c:pt>
                <c:pt idx="3">
                  <c:v>0.7</c:v>
                </c:pt>
                <c:pt idx="4">
                  <c:v>0.67</c:v>
                </c:pt>
                <c:pt idx="6">
                  <c:v>0.64</c:v>
                </c:pt>
                <c:pt idx="7">
                  <c:v>1.1000000000000001</c:v>
                </c:pt>
                <c:pt idx="8">
                  <c:v>0.22</c:v>
                </c:pt>
                <c:pt idx="9">
                  <c:v>1.22</c:v>
                </c:pt>
                <c:pt idx="11">
                  <c:v>0.69</c:v>
                </c:pt>
                <c:pt idx="12">
                  <c:v>0.63</c:v>
                </c:pt>
                <c:pt idx="16">
                  <c:v>0.83</c:v>
                </c:pt>
                <c:pt idx="17">
                  <c:v>0.55000000000000004</c:v>
                </c:pt>
                <c:pt idx="19">
                  <c:v>0.65</c:v>
                </c:pt>
                <c:pt idx="20">
                  <c:v>0.68</c:v>
                </c:pt>
              </c:numCache>
            </c:numRef>
          </c:xVal>
          <c:yVal>
            <c:numRef>
              <c:f>Sheet1!$C$3:$C$28</c:f>
              <c:numCache>
                <c:formatCode>General</c:formatCode>
                <c:ptCount val="26"/>
                <c:pt idx="0">
                  <c:v>22</c:v>
                </c:pt>
                <c:pt idx="2">
                  <c:v>20</c:v>
                </c:pt>
                <c:pt idx="3">
                  <c:v>19</c:v>
                </c:pt>
                <c:pt idx="4">
                  <c:v>18</c:v>
                </c:pt>
                <c:pt idx="6">
                  <c:v>16</c:v>
                </c:pt>
                <c:pt idx="7">
                  <c:v>15</c:v>
                </c:pt>
                <c:pt idx="8">
                  <c:v>14</c:v>
                </c:pt>
                <c:pt idx="9">
                  <c:v>13</c:v>
                </c:pt>
                <c:pt idx="11">
                  <c:v>11</c:v>
                </c:pt>
                <c:pt idx="12">
                  <c:v>10</c:v>
                </c:pt>
                <c:pt idx="16">
                  <c:v>8</c:v>
                </c:pt>
                <c:pt idx="17">
                  <c:v>7</c:v>
                </c:pt>
                <c:pt idx="19">
                  <c:v>5</c:v>
                </c:pt>
                <c:pt idx="20">
                  <c:v>4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19-777F-424C-8A97-468BFC812D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217408"/>
        <c:axId val="35218944"/>
      </c:scatterChart>
      <c:valAx>
        <c:axId val="35217408"/>
        <c:scaling>
          <c:logBase val="10"/>
          <c:orientation val="minMax"/>
          <c:max val="2.1"/>
          <c:min val="0.30000000000000004"/>
        </c:scaling>
        <c:delete val="0"/>
        <c:axPos val="b"/>
        <c:numFmt formatCode="General" sourceLinked="0"/>
        <c:majorTickMark val="out"/>
        <c:minorTickMark val="out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35218944"/>
        <c:crosses val="autoZero"/>
        <c:crossBetween val="midCat"/>
      </c:valAx>
      <c:valAx>
        <c:axId val="35218944"/>
        <c:scaling>
          <c:orientation val="minMax"/>
          <c:max val="22.5"/>
          <c:min val="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alpha val="0"/>
                  </a:schemeClr>
                </a:solidFill>
                <a:latin typeface="+mn-lt"/>
                <a:ea typeface="+mn-ea"/>
                <a:cs typeface="+mn-cs"/>
              </a:defRPr>
            </a:pPr>
            <a:endParaRPr lang="cs-CZ"/>
          </a:p>
        </c:txPr>
        <c:crossAx val="35217408"/>
        <c:crossesAt val="1"/>
        <c:crossBetween val="midCat"/>
        <c:majorUnit val="1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cs-CZ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9166762829081523E-2"/>
          <c:y val="3.9554576396535618E-2"/>
          <c:w val="0.89076905323861877"/>
          <c:h val="0.92089084720692871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Sheet1!$B$2</c:f>
              <c:strCache>
                <c:ptCount val="1"/>
                <c:pt idx="0">
                  <c:v>A+nP</c:v>
                </c:pt>
              </c:strCache>
            </c:strRef>
          </c:tx>
          <c:spPr>
            <a:solidFill>
              <a:srgbClr val="2C4A8C"/>
            </a:solidFill>
          </c:spPr>
          <c:invertIfNegative val="0"/>
          <c:dLbls>
            <c:dLbl>
              <c:idx val="0"/>
              <c:layout>
                <c:manualLayout>
                  <c:x val="-0.11634039458085495"/>
                  <c:y val="0"/>
                </c:manualLayout>
              </c:layout>
              <c:tx>
                <c:rich>
                  <a:bodyPr/>
                  <a:lstStyle/>
                  <a:p>
                    <a:fld id="{313D5B31-6FB1-4D31-832B-70F2208EB764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EFE-4A8D-8F5E-0655629BF366}"/>
                </c:ext>
              </c:extLst>
            </c:dLbl>
            <c:dLbl>
              <c:idx val="1"/>
              <c:layout>
                <c:manualLayout>
                  <c:x val="-0.11634039458085495"/>
                  <c:y val="0"/>
                </c:manualLayout>
              </c:layout>
              <c:tx>
                <c:rich>
                  <a:bodyPr/>
                  <a:lstStyle/>
                  <a:p>
                    <a:fld id="{2703A9AE-D14B-4B0C-8D2A-223A7D1CC215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BEFE-4A8D-8F5E-0655629BF366}"/>
                </c:ext>
              </c:extLst>
            </c:dLbl>
            <c:dLbl>
              <c:idx val="2"/>
              <c:layout>
                <c:manualLayout>
                  <c:x val="-0.11905825011518531"/>
                  <c:y val="0"/>
                </c:manualLayout>
              </c:layout>
              <c:tx>
                <c:rich>
                  <a:bodyPr/>
                  <a:lstStyle/>
                  <a:p>
                    <a:fld id="{350D5C0D-0BD8-4E45-8CAE-3B5A39D7AA1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BEFE-4A8D-8F5E-0655629BF366}"/>
                </c:ext>
              </c:extLst>
            </c:dLbl>
            <c:dLbl>
              <c:idx val="3"/>
              <c:layout>
                <c:manualLayout>
                  <c:x val="-0.11634045508594053"/>
                  <c:y val="0"/>
                </c:manualLayout>
              </c:layout>
              <c:tx>
                <c:rich>
                  <a:bodyPr/>
                  <a:lstStyle/>
                  <a:p>
                    <a:fld id="{1F8D68DF-899A-4AC9-AE80-379CB421EB6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BEFE-4A8D-8F5E-0655629BF366}"/>
                </c:ext>
              </c:extLst>
            </c:dLbl>
            <c:dLbl>
              <c:idx val="4"/>
              <c:layout>
                <c:manualLayout>
                  <c:x val="-0.11634039458085491"/>
                  <c:y val="0"/>
                </c:manualLayout>
              </c:layout>
              <c:tx>
                <c:rich>
                  <a:bodyPr/>
                  <a:lstStyle/>
                  <a:p>
                    <a:fld id="{83FF1077-7CF1-4C09-A2AE-BEED055A3AFF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BEFE-4A8D-8F5E-0655629BF366}"/>
                </c:ext>
              </c:extLst>
            </c:dLbl>
            <c:dLbl>
              <c:idx val="5"/>
              <c:layout>
                <c:manualLayout>
                  <c:x val="-0.13682125760369956"/>
                  <c:y val="-6.5923532439953805E-17"/>
                </c:manualLayout>
              </c:layout>
              <c:tx>
                <c:rich>
                  <a:bodyPr/>
                  <a:lstStyle/>
                  <a:p>
                    <a:fld id="{F9546748-1F6C-4457-A7CC-F165E9A563AD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BEFE-4A8D-8F5E-0655629BF366}"/>
                </c:ext>
              </c:extLst>
            </c:dLbl>
            <c:dLbl>
              <c:idx val="6"/>
              <c:layout>
                <c:manualLayout>
                  <c:x val="-0.12838195059197482"/>
                  <c:y val="-6.5923532439953805E-17"/>
                </c:manualLayout>
              </c:layout>
              <c:tx>
                <c:rich>
                  <a:bodyPr/>
                  <a:lstStyle/>
                  <a:p>
                    <a:fld id="{7DA87F5A-A3B9-4EA1-B51E-9D286C2C7350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BEFE-4A8D-8F5E-0655629BF366}"/>
                </c:ext>
              </c:extLst>
            </c:dLbl>
            <c:dLbl>
              <c:idx val="7"/>
              <c:layout>
                <c:manualLayout>
                  <c:x val="-0.1304365199542365"/>
                  <c:y val="0"/>
                </c:manualLayout>
              </c:layout>
              <c:tx>
                <c:rich>
                  <a:bodyPr/>
                  <a:lstStyle/>
                  <a:p>
                    <a:fld id="{8A91B46E-BAE5-45BB-A9ED-72C5AC508F39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BEFE-4A8D-8F5E-0655629BF366}"/>
                </c:ext>
              </c:extLst>
            </c:dLbl>
            <c:dLbl>
              <c:idx val="8"/>
              <c:layout>
                <c:manualLayout>
                  <c:x val="-0.14364819177628585"/>
                  <c:y val="-1.3184706487990761E-16"/>
                </c:manualLayout>
              </c:layout>
              <c:tx>
                <c:rich>
                  <a:bodyPr/>
                  <a:lstStyle/>
                  <a:p>
                    <a:fld id="{8E12B624-074A-4671-8057-1161C454A866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BEFE-4A8D-8F5E-0655629BF366}"/>
                </c:ext>
              </c:extLst>
            </c:dLbl>
            <c:dLbl>
              <c:idx val="9"/>
              <c:layout>
                <c:manualLayout>
                  <c:x val="-0.15591075338955412"/>
                  <c:y val="0"/>
                </c:manualLayout>
              </c:layout>
              <c:tx>
                <c:rich>
                  <a:bodyPr/>
                  <a:lstStyle/>
                  <a:p>
                    <a:fld id="{CDD6D19B-851E-4F5B-9371-5BF0F5030247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BEFE-4A8D-8F5E-0655629BF366}"/>
                </c:ext>
              </c:extLst>
            </c:dLbl>
            <c:dLbl>
              <c:idx val="10"/>
              <c:layout>
                <c:manualLayout>
                  <c:x val="-0.21258079149130027"/>
                  <c:y val="0"/>
                </c:manualLayout>
              </c:layout>
              <c:tx>
                <c:rich>
                  <a:bodyPr/>
                  <a:lstStyle/>
                  <a:p>
                    <a:fld id="{F7823D9C-3C53-44D4-B42D-7BEB7CB47C8C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BEFE-4A8D-8F5E-0655629BF366}"/>
                </c:ext>
              </c:extLst>
            </c:dLbl>
            <c:dLbl>
              <c:idx val="11"/>
              <c:layout>
                <c:manualLayout>
                  <c:x val="-0.21280177903057976"/>
                  <c:y val="0"/>
                </c:manualLayout>
              </c:layout>
              <c:tx>
                <c:rich>
                  <a:bodyPr/>
                  <a:lstStyle/>
                  <a:p>
                    <a:fld id="{4E5815C1-77AE-4FD4-82E0-BE3588539AE2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BEFE-4A8D-8F5E-0655629BF366}"/>
                </c:ext>
              </c:extLst>
            </c:dLbl>
            <c:dLbl>
              <c:idx val="12"/>
              <c:layout>
                <c:manualLayout>
                  <c:x val="-0.24693642677061817"/>
                  <c:y val="-1.3184706487990761E-16"/>
                </c:manualLayout>
              </c:layout>
              <c:tx>
                <c:rich>
                  <a:bodyPr/>
                  <a:lstStyle/>
                  <a:p>
                    <a:fld id="{461A9D32-9CE4-4998-BCB0-25CD9E3B8526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BEFE-4A8D-8F5E-0655629BF3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cs-CZ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3:$A$15</c:f>
              <c:strCache>
                <c:ptCount val="13"/>
                <c:pt idx="0">
                  <c:v>Pyrexia</c:v>
                </c:pt>
                <c:pt idx="1">
                  <c:v>Vomiting</c:v>
                </c:pt>
                <c:pt idx="2">
                  <c:v>Neutropenia</c:v>
                </c:pt>
                <c:pt idx="3">
                  <c:v>Decreased appetite</c:v>
                </c:pt>
                <c:pt idx="4">
                  <c:v>Neuropathy peripheral</c:v>
                </c:pt>
                <c:pt idx="5">
                  <c:v>Cough</c:v>
                </c:pt>
                <c:pt idx="6">
                  <c:v>Headache</c:v>
                </c:pt>
                <c:pt idx="7">
                  <c:v>Constipation</c:v>
                </c:pt>
                <c:pt idx="8">
                  <c:v>Anaemia</c:v>
                </c:pt>
                <c:pt idx="9">
                  <c:v>Diarrhoea</c:v>
                </c:pt>
                <c:pt idx="10">
                  <c:v>Nausea</c:v>
                </c:pt>
                <c:pt idx="11">
                  <c:v>Fatigue</c:v>
                </c:pt>
                <c:pt idx="12">
                  <c:v>Alopecia</c:v>
                </c:pt>
              </c:strCache>
            </c:strRef>
          </c:cat>
          <c:val>
            <c:numRef>
              <c:f>Sheet1!$B$3:$B$15</c:f>
              <c:numCache>
                <c:formatCode>0.00%</c:formatCode>
                <c:ptCount val="13"/>
                <c:pt idx="0" formatCode="0.0%">
                  <c:v>-0.20200000000000001</c:v>
                </c:pt>
                <c:pt idx="1">
                  <c:v>-0.2</c:v>
                </c:pt>
                <c:pt idx="2" formatCode="0.0%">
                  <c:v>-0.222</c:v>
                </c:pt>
                <c:pt idx="3" formatCode="0.0%">
                  <c:v>-0.2</c:v>
                </c:pt>
                <c:pt idx="4" formatCode="0.0%">
                  <c:v>-0.217</c:v>
                </c:pt>
                <c:pt idx="5" formatCode="0.0%">
                  <c:v>-0.27400000000000002</c:v>
                </c:pt>
                <c:pt idx="6" formatCode="0.0%">
                  <c:v>-0.252</c:v>
                </c:pt>
                <c:pt idx="7" formatCode="0.0%">
                  <c:v>-0.254</c:v>
                </c:pt>
                <c:pt idx="8" formatCode="0.0%">
                  <c:v>-0.28299999999999997</c:v>
                </c:pt>
                <c:pt idx="9" formatCode="0.0%">
                  <c:v>-0.32800000000000001</c:v>
                </c:pt>
                <c:pt idx="10" formatCode="0.0%">
                  <c:v>-0.46700000000000003</c:v>
                </c:pt>
                <c:pt idx="11" formatCode="0.0%">
                  <c:v>-0.47</c:v>
                </c:pt>
                <c:pt idx="12" formatCode="0.0%">
                  <c:v>-0.5719999999999999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D$3:$D$15</c15:f>
                <c15:dlblRangeCache>
                  <c:ptCount val="13"/>
                  <c:pt idx="0">
                    <c:v>20</c:v>
                  </c:pt>
                  <c:pt idx="1">
                    <c:v>20</c:v>
                  </c:pt>
                  <c:pt idx="2">
                    <c:v>22</c:v>
                  </c:pt>
                  <c:pt idx="3">
                    <c:v>20</c:v>
                  </c:pt>
                  <c:pt idx="4">
                    <c:v>22</c:v>
                  </c:pt>
                  <c:pt idx="5">
                    <c:v>27</c:v>
                  </c:pt>
                  <c:pt idx="6">
                    <c:v>25</c:v>
                  </c:pt>
                  <c:pt idx="7">
                    <c:v>25</c:v>
                  </c:pt>
                  <c:pt idx="8">
                    <c:v>28</c:v>
                  </c:pt>
                  <c:pt idx="9">
                    <c:v>33</c:v>
                  </c:pt>
                  <c:pt idx="10">
                    <c:v>47</c:v>
                  </c:pt>
                  <c:pt idx="11">
                    <c:v>47</c:v>
                  </c:pt>
                  <c:pt idx="12">
                    <c:v>57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9D2C-4221-A3EE-9355121695F5}"/>
            </c:ext>
          </c:extLst>
        </c:ser>
        <c:ser>
          <c:idx val="0"/>
          <c:order val="1"/>
          <c:tx>
            <c:strRef>
              <c:f>Sheet1!$C$2</c:f>
              <c:strCache>
                <c:ptCount val="1"/>
                <c:pt idx="0">
                  <c:v>P+n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7.5534867498071617E-2"/>
                  <c:y val="2.2651153269311734E-6"/>
                </c:manualLayout>
              </c:layout>
              <c:tx>
                <c:rich>
                  <a:bodyPr/>
                  <a:lstStyle/>
                  <a:p>
                    <a:fld id="{11EF073D-7377-40DE-B1C3-C3A27EB9AD60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BEFE-4A8D-8F5E-0655629BF366}"/>
                </c:ext>
              </c:extLst>
            </c:dLbl>
            <c:dLbl>
              <c:idx val="1"/>
              <c:layout>
                <c:manualLayout>
                  <c:x val="0.10224426920747325"/>
                  <c:y val="1.698836495214861E-6"/>
                </c:manualLayout>
              </c:layout>
              <c:tx>
                <c:rich>
                  <a:bodyPr/>
                  <a:lstStyle/>
                  <a:p>
                    <a:fld id="{237503BB-F457-4155-BC9A-0A8777690E09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BEFE-4A8D-8F5E-0655629BF366}"/>
                </c:ext>
              </c:extLst>
            </c:dLbl>
            <c:dLbl>
              <c:idx val="2"/>
              <c:layout>
                <c:manualLayout>
                  <c:x val="8.9916853033903232E-2"/>
                  <c:y val="1.4156970793319835E-6"/>
                </c:manualLayout>
              </c:layout>
              <c:tx>
                <c:rich>
                  <a:bodyPr/>
                  <a:lstStyle/>
                  <a:p>
                    <a:fld id="{59A3DA86-2102-4D1C-9D40-D241C7076A19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BEFE-4A8D-8F5E-0655629BF366}"/>
                </c:ext>
              </c:extLst>
            </c:dLbl>
            <c:dLbl>
              <c:idx val="3"/>
              <c:layout>
                <c:manualLayout>
                  <c:x val="0.10224426920747333"/>
                  <c:y val="1.6988364951983803E-6"/>
                </c:manualLayout>
              </c:layout>
              <c:tx>
                <c:rich>
                  <a:bodyPr/>
                  <a:lstStyle/>
                  <a:p>
                    <a:fld id="{16B7FE50-808F-499F-975A-D2FF51E7A69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BEFE-4A8D-8F5E-0655629BF366}"/>
                </c:ext>
              </c:extLst>
            </c:dLbl>
            <c:dLbl>
              <c:idx val="4"/>
              <c:layout>
                <c:manualLayout>
                  <c:x val="0.11868082410556677"/>
                  <c:y val="1.4156970793319835E-6"/>
                </c:manualLayout>
              </c:layout>
              <c:tx>
                <c:rich>
                  <a:bodyPr/>
                  <a:lstStyle/>
                  <a:p>
                    <a:fld id="{64FFE154-B870-434B-ABC8-87C37C8B3265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BEFE-4A8D-8F5E-0655629BF366}"/>
                </c:ext>
              </c:extLst>
            </c:dLbl>
            <c:dLbl>
              <c:idx val="5"/>
              <c:layout>
                <c:manualLayout>
                  <c:x val="0.10224426920747333"/>
                  <c:y val="1.415697079397907E-6"/>
                </c:manualLayout>
              </c:layout>
              <c:tx>
                <c:rich>
                  <a:bodyPr/>
                  <a:lstStyle/>
                  <a:p>
                    <a:fld id="{111EC0AE-88D6-4BFA-B8C5-6AFD5B35A608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BEFE-4A8D-8F5E-0655629BF366}"/>
                </c:ext>
              </c:extLst>
            </c:dLbl>
            <c:dLbl>
              <c:idx val="6"/>
              <c:layout>
                <c:manualLayout>
                  <c:x val="0.11868082410556668"/>
                  <c:y val="1.4156970793319835E-6"/>
                </c:manualLayout>
              </c:layout>
              <c:tx>
                <c:rich>
                  <a:bodyPr/>
                  <a:lstStyle/>
                  <a:p>
                    <a:fld id="{2230C205-88C6-48E7-9041-8808DC8BCC7A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BEFE-4A8D-8F5E-0655629BF366}"/>
                </c:ext>
              </c:extLst>
            </c:dLbl>
            <c:dLbl>
              <c:idx val="7"/>
              <c:layout>
                <c:manualLayout>
                  <c:x val="0.12689910155461337"/>
                  <c:y val="1.4156970793319835E-6"/>
                </c:manualLayout>
              </c:layout>
              <c:tx>
                <c:rich>
                  <a:bodyPr/>
                  <a:lstStyle/>
                  <a:p>
                    <a:fld id="{5E1A6A49-1010-4C19-88B0-F2220A836E31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BEFE-4A8D-8F5E-0655629BF366}"/>
                </c:ext>
              </c:extLst>
            </c:dLbl>
            <c:dLbl>
              <c:idx val="8"/>
              <c:layout>
                <c:manualLayout>
                  <c:x val="0.13306280964139822"/>
                  <c:y val="1.4156970793319835E-6"/>
                </c:manualLayout>
              </c:layout>
              <c:tx>
                <c:rich>
                  <a:bodyPr/>
                  <a:lstStyle/>
                  <a:p>
                    <a:fld id="{B9A061F3-ED6F-4F90-A91F-E26ABA23A05B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BEFE-4A8D-8F5E-0655629BF366}"/>
                </c:ext>
              </c:extLst>
            </c:dLbl>
            <c:dLbl>
              <c:idx val="9"/>
              <c:layout>
                <c:manualLayout>
                  <c:x val="0.16593591943758509"/>
                  <c:y val="1.6988364951983803E-6"/>
                </c:manualLayout>
              </c:layout>
              <c:tx>
                <c:rich>
                  <a:bodyPr/>
                  <a:lstStyle/>
                  <a:p>
                    <a:fld id="{D9BDCA57-F8BC-42CF-8B13-89691EE74C19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BEFE-4A8D-8F5E-0655629BF366}"/>
                </c:ext>
              </c:extLst>
            </c:dLbl>
            <c:dLbl>
              <c:idx val="10"/>
              <c:layout>
                <c:manualLayout>
                  <c:x val="0.17620876624889345"/>
                  <c:y val="1.4156970794638305E-6"/>
                </c:manualLayout>
              </c:layout>
              <c:tx>
                <c:rich>
                  <a:bodyPr/>
                  <a:lstStyle/>
                  <a:p>
                    <a:fld id="{E5DDBA19-A5AD-41D8-95F4-3F1F3F9385EB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BEFE-4A8D-8F5E-0655629BF366}"/>
                </c:ext>
              </c:extLst>
            </c:dLbl>
            <c:dLbl>
              <c:idx val="11"/>
              <c:layout>
                <c:manualLayout>
                  <c:x val="0.20291816795829515"/>
                  <c:y val="1.4156970794638305E-6"/>
                </c:manualLayout>
              </c:layout>
              <c:tx>
                <c:rich>
                  <a:bodyPr/>
                  <a:lstStyle/>
                  <a:p>
                    <a:fld id="{A3D8D22B-2CA7-4E78-BE40-E16605BBE90C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BEFE-4A8D-8F5E-0655629BF366}"/>
                </c:ext>
              </c:extLst>
            </c:dLbl>
            <c:dLbl>
              <c:idx val="12"/>
              <c:layout>
                <c:manualLayout>
                  <c:x val="0.25017326329031359"/>
                  <c:y val="1.4156970793319835E-6"/>
                </c:manualLayout>
              </c:layout>
              <c:tx>
                <c:rich>
                  <a:bodyPr/>
                  <a:lstStyle/>
                  <a:p>
                    <a:fld id="{2D28E51D-BBCD-4AEC-87F7-C76DC20229C6}" type="CELLRANGE">
                      <a:rPr lang="en-US"/>
                      <a:pPr/>
                      <a:t>[OBLAST BUNĚK]</a:t>
                    </a:fld>
                    <a:endParaRPr lang="cs-CZ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BEFE-4A8D-8F5E-0655629BF3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cs-CZ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3:$A$15</c:f>
              <c:strCache>
                <c:ptCount val="13"/>
                <c:pt idx="0">
                  <c:v>Pyrexia</c:v>
                </c:pt>
                <c:pt idx="1">
                  <c:v>Vomiting</c:v>
                </c:pt>
                <c:pt idx="2">
                  <c:v>Neutropenia</c:v>
                </c:pt>
                <c:pt idx="3">
                  <c:v>Decreased appetite</c:v>
                </c:pt>
                <c:pt idx="4">
                  <c:v>Neuropathy peripheral</c:v>
                </c:pt>
                <c:pt idx="5">
                  <c:v>Cough</c:v>
                </c:pt>
                <c:pt idx="6">
                  <c:v>Headache</c:v>
                </c:pt>
                <c:pt idx="7">
                  <c:v>Constipation</c:v>
                </c:pt>
                <c:pt idx="8">
                  <c:v>Anaemia</c:v>
                </c:pt>
                <c:pt idx="9">
                  <c:v>Diarrhoea</c:v>
                </c:pt>
                <c:pt idx="10">
                  <c:v>Nausea</c:v>
                </c:pt>
                <c:pt idx="11">
                  <c:v>Fatigue</c:v>
                </c:pt>
                <c:pt idx="12">
                  <c:v>Alopecia</c:v>
                </c:pt>
              </c:strCache>
            </c:strRef>
          </c:cat>
          <c:val>
            <c:numRef>
              <c:f>Sheet1!$C$3:$C$15</c:f>
              <c:numCache>
                <c:formatCode>0.0%</c:formatCode>
                <c:ptCount val="13"/>
                <c:pt idx="0">
                  <c:v>0.107</c:v>
                </c:pt>
                <c:pt idx="1">
                  <c:v>0.17399999999999999</c:v>
                </c:pt>
                <c:pt idx="2">
                  <c:v>0.151</c:v>
                </c:pt>
                <c:pt idx="3">
                  <c:v>0.186</c:v>
                </c:pt>
                <c:pt idx="4">
                  <c:v>0.22600000000000001</c:v>
                </c:pt>
                <c:pt idx="5">
                  <c:v>0.186</c:v>
                </c:pt>
                <c:pt idx="6">
                  <c:v>0.216</c:v>
                </c:pt>
                <c:pt idx="7">
                  <c:v>0.251</c:v>
                </c:pt>
                <c:pt idx="8">
                  <c:v>0.27</c:v>
                </c:pt>
                <c:pt idx="9">
                  <c:v>0.34699999999999998</c:v>
                </c:pt>
                <c:pt idx="10">
                  <c:v>0.38400000000000001</c:v>
                </c:pt>
                <c:pt idx="11">
                  <c:v>0.45100000000000001</c:v>
                </c:pt>
                <c:pt idx="12">
                  <c:v>0.5739999999999999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E$3:$E$15</c15:f>
                <c15:dlblRangeCache>
                  <c:ptCount val="13"/>
                  <c:pt idx="0">
                    <c:v>11</c:v>
                  </c:pt>
                  <c:pt idx="1">
                    <c:v>17</c:v>
                  </c:pt>
                  <c:pt idx="2">
                    <c:v>15</c:v>
                  </c:pt>
                  <c:pt idx="3">
                    <c:v>19</c:v>
                  </c:pt>
                  <c:pt idx="4">
                    <c:v>23</c:v>
                  </c:pt>
                  <c:pt idx="5">
                    <c:v>19</c:v>
                  </c:pt>
                  <c:pt idx="6">
                    <c:v>22</c:v>
                  </c:pt>
                  <c:pt idx="7">
                    <c:v>25</c:v>
                  </c:pt>
                  <c:pt idx="8">
                    <c:v>27</c:v>
                  </c:pt>
                  <c:pt idx="9">
                    <c:v>35</c:v>
                  </c:pt>
                  <c:pt idx="10">
                    <c:v>38</c:v>
                  </c:pt>
                  <c:pt idx="11">
                    <c:v>45</c:v>
                  </c:pt>
                  <c:pt idx="12">
                    <c:v>57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9D2C-4221-A3EE-9355121695F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21944072"/>
        <c:axId val="221944464"/>
      </c:barChart>
      <c:catAx>
        <c:axId val="22194407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one"/>
        <c:spPr>
          <a:ln w="12700" cap="sq"/>
        </c:spPr>
        <c:crossAx val="221944464"/>
        <c:crosses val="autoZero"/>
        <c:auto val="1"/>
        <c:lblAlgn val="ctr"/>
        <c:lblOffset val="0"/>
        <c:noMultiLvlLbl val="0"/>
      </c:catAx>
      <c:valAx>
        <c:axId val="221944464"/>
        <c:scaling>
          <c:orientation val="minMax"/>
          <c:max val="0.60000000000000009"/>
          <c:min val="-0.60000000000000009"/>
        </c:scaling>
        <c:delete val="0"/>
        <c:axPos val="b"/>
        <c:numFmt formatCode="0%" sourceLinked="0"/>
        <c:majorTickMark val="out"/>
        <c:minorTickMark val="none"/>
        <c:tickLblPos val="none"/>
        <c:crossAx val="221944072"/>
        <c:crosses val="max"/>
        <c:crossBetween val="between"/>
        <c:majorUnit val="0.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cs-CZ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282833874655396"/>
          <c:y val="8.9851616968806114E-2"/>
          <c:w val="0.64539950491916309"/>
          <c:h val="0.638351423431332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Breast (64%)</c:v>
                </c:pt>
                <c:pt idx="1">
                  <c:v>Lymph node (12%)</c:v>
                </c:pt>
                <c:pt idx="2">
                  <c:v>Lung (6%)</c:v>
                </c:pt>
                <c:pt idx="3">
                  <c:v>Liver (5%)</c:v>
                </c:pt>
                <c:pt idx="4">
                  <c:v>Soft tissue (4%)</c:v>
                </c:pt>
                <c:pt idx="5">
                  <c:v>Skin (2%)</c:v>
                </c:pt>
                <c:pt idx="6">
                  <c:v>Other (6%)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0.43</c:v>
                </c:pt>
                <c:pt idx="1">
                  <c:v>0.51</c:v>
                </c:pt>
                <c:pt idx="2">
                  <c:v>0.43</c:v>
                </c:pt>
                <c:pt idx="3">
                  <c:v>0.13</c:v>
                </c:pt>
                <c:pt idx="4">
                  <c:v>0.3</c:v>
                </c:pt>
                <c:pt idx="5">
                  <c:v>0.48</c:v>
                </c:pt>
                <c:pt idx="6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49-468E-B8B7-62B4158360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1"/>
        <c:axId val="40397824"/>
        <c:axId val="40403712"/>
      </c:barChart>
      <c:catAx>
        <c:axId val="4039782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40403712"/>
        <c:crosses val="autoZero"/>
        <c:auto val="1"/>
        <c:lblAlgn val="ctr"/>
        <c:lblOffset val="100"/>
        <c:noMultiLvlLbl val="0"/>
      </c:catAx>
      <c:valAx>
        <c:axId val="40403712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40397824"/>
        <c:crosses val="max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512139107611543E-2"/>
          <c:y val="0.1324135316593342"/>
          <c:w val="0.91332119422572178"/>
          <c:h val="0.637954039844770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rimary tissue (62%)</c:v>
                </c:pt>
                <c:pt idx="1">
                  <c:v>Metastatic tissue (38%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44</c:v>
                </c:pt>
                <c:pt idx="1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5-45E5-9B97-A31A89708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6"/>
        <c:axId val="37074048"/>
        <c:axId val="37075584"/>
      </c:barChart>
      <c:catAx>
        <c:axId val="3707404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37075584"/>
        <c:crosses val="autoZero"/>
        <c:auto val="1"/>
        <c:lblAlgn val="ctr"/>
        <c:lblOffset val="100"/>
        <c:noMultiLvlLbl val="0"/>
      </c:catAx>
      <c:valAx>
        <c:axId val="37075584"/>
        <c:scaling>
          <c:orientation val="minMax"/>
          <c:max val="0.60000000000000009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37074048"/>
        <c:crosses val="max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512139107611543E-2"/>
          <c:y val="9.7972663307207219E-2"/>
          <c:w val="0.77785377869059724"/>
          <c:h val="0.716739935875669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>
                  <a:shade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solidFill>
                  <a:schemeClr val="accent1">
                    <a:shade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BA-4AF5-90ED-D3B1D1B330E0}"/>
              </c:ext>
            </c:extLst>
          </c:dPt>
          <c:dPt>
            <c:idx val="1"/>
            <c:invertIfNegative val="0"/>
            <c:bubble3D val="0"/>
            <c:spPr>
              <a:solidFill>
                <a:srgbClr val="B7D6A2"/>
              </a:solidFill>
              <a:ln>
                <a:solidFill>
                  <a:schemeClr val="accent1">
                    <a:shade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BA-4AF5-90ED-D3B1D1B330E0}"/>
              </c:ext>
            </c:extLst>
          </c:dPt>
          <c:dPt>
            <c:idx val="2"/>
            <c:invertIfNegative val="0"/>
            <c:bubble3D val="0"/>
            <c:spPr>
              <a:solidFill>
                <a:srgbClr val="F5B4A8"/>
              </a:solidFill>
              <a:ln>
                <a:solidFill>
                  <a:schemeClr val="accent1">
                    <a:shade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BA-4AF5-90ED-D3B1D1B330E0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P142   (IC ≥ 1%)</c:v>
                </c:pt>
                <c:pt idx="1">
                  <c:v>22C3   (CPS ≥ 1)</c:v>
                </c:pt>
                <c:pt idx="2">
                  <c:v>SP263   (IC ≥ 1%)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46</c:v>
                </c:pt>
                <c:pt idx="1">
                  <c:v>0.81</c:v>
                </c:pt>
                <c:pt idx="2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BA-4AF5-90ED-D3B1D1B33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6"/>
        <c:overlap val="-3"/>
        <c:axId val="40718720"/>
        <c:axId val="40720256"/>
      </c:barChart>
      <c:catAx>
        <c:axId val="40718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40720256"/>
        <c:crosses val="autoZero"/>
        <c:auto val="1"/>
        <c:lblAlgn val="ctr"/>
        <c:lblOffset val="100"/>
        <c:noMultiLvlLbl val="0"/>
      </c:catAx>
      <c:valAx>
        <c:axId val="4072025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cs-CZ"/>
          </a:p>
        </c:txPr>
        <c:crossAx val="40718720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761</cdr:x>
      <cdr:y>0</cdr:y>
    </cdr:from>
    <cdr:to>
      <cdr:x>0.36006</cdr:x>
      <cdr:y>0.0957</cdr:y>
    </cdr:to>
    <cdr:sp macro="" textlink="">
      <cdr:nvSpPr>
        <cdr:cNvPr id="2" name="TextBox 55">
          <a:extLst xmlns:a="http://schemas.openxmlformats.org/drawingml/2006/main">
            <a:ext uri="{FF2B5EF4-FFF2-40B4-BE49-F238E27FC236}">
              <a16:creationId xmlns:a16="http://schemas.microsoft.com/office/drawing/2014/main" id="{69ED312C-BC56-454F-A2A1-140382E363BD}"/>
            </a:ext>
          </a:extLst>
        </cdr:cNvPr>
        <cdr:cNvSpPr txBox="1"/>
      </cdr:nvSpPr>
      <cdr:spPr>
        <a:xfrm xmlns:a="http://schemas.openxmlformats.org/drawingml/2006/main">
          <a:off x="1389368" y="0"/>
          <a:ext cx="552524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1pPr>
          <a:lvl2pPr marL="4572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2pPr>
          <a:lvl3pPr marL="9144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3pPr>
          <a:lvl4pPr marL="13716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4pPr>
          <a:lvl5pPr marL="18288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9pPr>
        </a:lstStyle>
        <a:p xmlns:a="http://schemas.openxmlformats.org/drawingml/2006/main">
          <a:pPr algn="ctr" defTabSz="457200" eaLnBrk="1" fontAlgn="auto" hangingPunct="1">
            <a:spcBef>
              <a:spcPts val="0"/>
            </a:spcBef>
            <a:spcAft>
              <a:spcPts val="0"/>
            </a:spcAft>
            <a:defRPr/>
          </a:pPr>
          <a:r>
            <a:rPr lang="en-US" sz="1600" b="1" dirty="0" err="1">
              <a:solidFill>
                <a:prstClr val="black"/>
              </a:solidFill>
              <a:latin typeface="+mn-lt"/>
              <a:cs typeface="Arial" panose="020B0604020202020204" pitchFamily="34" charset="0"/>
            </a:rPr>
            <a:t>ITT</a:t>
          </a:r>
          <a:r>
            <a:rPr lang="en-US" sz="1600" b="1" baseline="30000" dirty="0" err="1">
              <a:solidFill>
                <a:prstClr val="black"/>
              </a:solidFill>
              <a:latin typeface="+mn-lt"/>
              <a:cs typeface="Arial" panose="020B0604020202020204" pitchFamily="34" charset="0"/>
            </a:rPr>
            <a:t>a</a:t>
          </a:r>
          <a:endParaRPr lang="en-GB" sz="1600" b="1" baseline="30000" dirty="0">
            <a:solidFill>
              <a:prstClr val="black"/>
            </a:solidFill>
            <a:latin typeface="+mn-lt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5891</cdr:x>
      <cdr:y>0</cdr:y>
    </cdr:from>
    <cdr:to>
      <cdr:x>0.94651</cdr:x>
      <cdr:y>0.0957</cdr:y>
    </cdr:to>
    <cdr:sp macro="" textlink="">
      <cdr:nvSpPr>
        <cdr:cNvPr id="3" name="TextBox 56">
          <a:extLst xmlns:a="http://schemas.openxmlformats.org/drawingml/2006/main">
            <a:ext uri="{FF2B5EF4-FFF2-40B4-BE49-F238E27FC236}">
              <a16:creationId xmlns:a16="http://schemas.microsoft.com/office/drawing/2014/main" id="{6D85F88A-A337-4DDF-B5EC-4E5D4DE2CC88}"/>
            </a:ext>
          </a:extLst>
        </cdr:cNvPr>
        <cdr:cNvSpPr txBox="1"/>
      </cdr:nvSpPr>
      <cdr:spPr>
        <a:xfrm xmlns:a="http://schemas.openxmlformats.org/drawingml/2006/main">
          <a:off x="4092995" y="0"/>
          <a:ext cx="1011815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1pPr>
          <a:lvl2pPr marL="4572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2pPr>
          <a:lvl3pPr marL="9144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3pPr>
          <a:lvl4pPr marL="13716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4pPr>
          <a:lvl5pPr marL="18288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9pPr>
        </a:lstStyle>
        <a:p xmlns:a="http://schemas.openxmlformats.org/drawingml/2006/main">
          <a:pPr algn="ctr" defTabSz="457200" eaLnBrk="1" fontAlgn="auto" hangingPunct="1">
            <a:spcBef>
              <a:spcPts val="0"/>
            </a:spcBef>
            <a:spcAft>
              <a:spcPts val="0"/>
            </a:spcAft>
            <a:defRPr/>
          </a:pPr>
          <a:r>
            <a:rPr lang="en-US" sz="1600" b="1" dirty="0">
              <a:solidFill>
                <a:prstClr val="black"/>
              </a:solidFill>
              <a:latin typeface="+mn-lt"/>
              <a:cs typeface="Arial" panose="020B0604020202020204" pitchFamily="34" charset="0"/>
            </a:rPr>
            <a:t>PD-L1+</a:t>
          </a:r>
          <a:r>
            <a:rPr lang="en-US" sz="1600" b="1" baseline="30000" dirty="0">
              <a:solidFill>
                <a:prstClr val="black"/>
              </a:solidFill>
              <a:latin typeface="+mn-lt"/>
              <a:cs typeface="Arial" panose="020B0604020202020204" pitchFamily="34" charset="0"/>
            </a:rPr>
            <a:t>b</a:t>
          </a:r>
          <a:endParaRPr lang="en-GB" sz="1600" b="1" baseline="30000" dirty="0">
            <a:solidFill>
              <a:prstClr val="black"/>
            </a:solidFill>
            <a:latin typeface="+mn-lt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9357" y="298887"/>
            <a:ext cx="3729476" cy="3930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79357" y="714784"/>
            <a:ext cx="3729476" cy="167354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1/29/2024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79357" y="9379168"/>
            <a:ext cx="2803912" cy="26849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35070" y="9379168"/>
            <a:ext cx="1184114" cy="26849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5064073" y="304955"/>
            <a:ext cx="1287833" cy="386846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7541" y="352188"/>
            <a:ext cx="3665957" cy="44748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7544" y="876376"/>
            <a:ext cx="2949099" cy="268491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1/29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657600" y="7542213"/>
            <a:ext cx="2870200" cy="1616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4139" y="1404605"/>
            <a:ext cx="6037335" cy="5618417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6524" y="9379168"/>
            <a:ext cx="898341" cy="26849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160864" y="304955"/>
            <a:ext cx="1287833" cy="386846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2247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1189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3C4279-0E90-45C7-936D-21AD6824232C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63401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53C4279-0E90-45C7-936D-21AD6824232C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93147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3C4279-0E90-45C7-936D-21AD6824232C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00405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3C4279-0E90-45C7-936D-21AD6824232C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92840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3C4279-0E90-45C7-936D-21AD6824232C}" type="slidenum">
              <a:rPr lang="en-GB" smtClean="0"/>
              <a:pPr>
                <a:defRPr/>
              </a:pPr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532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94326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Změna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905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C4279-0E90-45C7-936D-21AD6824232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90583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C4279-0E90-45C7-936D-21AD6824232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94405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C4279-0E90-45C7-936D-21AD6824232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70689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C4279-0E90-45C7-936D-21AD6824232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1755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C4279-0E90-45C7-936D-21AD6824232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43878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C4279-0E90-45C7-936D-21AD6824232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8558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5" Type="http://schemas.microsoft.com/office/2007/relationships/hdphoto" Target="../media/hdphoto1.wdp"/><Relationship Id="rId4" Type="http://schemas.openxmlformats.org/officeDocument/2006/relationships/image" Target="../media/image18.pn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5.wmf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83"/>
            <a:ext cx="12192000" cy="6848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6889" y="2696702"/>
            <a:ext cx="10958227" cy="1971413"/>
          </a:xfr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3730" b="1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6889" y="4942894"/>
            <a:ext cx="10958227" cy="831559"/>
          </a:xfrm>
        </p:spPr>
        <p:txBody>
          <a:bodyPr anchor="ctr">
            <a:noAutofit/>
          </a:bodyPr>
          <a:lstStyle>
            <a:lvl1pPr marL="0" indent="0" algn="ctr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197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8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7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66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5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4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3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21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0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020541" y="428122"/>
            <a:ext cx="781992" cy="406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058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9493" y="1806575"/>
            <a:ext cx="5474677" cy="44719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739" y="1806575"/>
            <a:ext cx="5476631" cy="44719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545B92-9666-4195-B6E1-FD81DD2D83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540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75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694" y="1535113"/>
            <a:ext cx="538870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694" y="2174875"/>
            <a:ext cx="538870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7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55FE86-6BD3-48ED-9042-E3EF8447C6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469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pl-PL" dirty="0"/>
          </a:p>
        </p:txBody>
      </p:sp>
      <p:sp>
        <p:nvSpPr>
          <p:cNvPr id="3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7165CB-D5E5-4F49-B52C-2E6BB58C0F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8056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800" dirty="0">
                <a:solidFill>
                  <a:schemeClr val="tx1"/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86331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247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384" y="273052"/>
            <a:ext cx="681501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2"/>
            <a:ext cx="4011247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B887CC-8431-4B91-BABD-191FD7EEA20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5195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555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555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555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0E69C4-9F4A-4EC7-99BF-B1E5BD2F10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3692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B25F00-55C7-4159-96ED-33FC181064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4446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82185" y="452439"/>
            <a:ext cx="2786184" cy="58261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7771" y="452439"/>
            <a:ext cx="8176845" cy="5826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27A04-B349-4C41-9EBD-AC2BB72186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4024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6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56285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97500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6"/>
          <a:ext cx="2116" cy="21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6"/>
                        <a:ext cx="2116" cy="21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25451" y="1294205"/>
            <a:ext cx="11347448" cy="308401"/>
          </a:xfrm>
        </p:spPr>
        <p:txBody>
          <a:bodyPr bIns="0" anchor="ctr"/>
          <a:lstStyle>
            <a:lvl1pPr>
              <a:defRPr sz="2131" b="0" i="1">
                <a:solidFill>
                  <a:schemeClr val="accent6"/>
                </a:solidFill>
              </a:defRPr>
            </a:lvl1pPr>
            <a:lvl2pPr>
              <a:defRPr sz="1465"/>
            </a:lvl2pPr>
            <a:lvl3pPr>
              <a:defRPr sz="1465"/>
            </a:lvl3pPr>
            <a:lvl4pPr>
              <a:defRPr sz="1465"/>
            </a:lvl4pPr>
            <a:lvl5pPr>
              <a:defRPr sz="1465"/>
            </a:lvl5pPr>
          </a:lstStyle>
          <a:p>
            <a:pPr lvl="0"/>
            <a:r>
              <a:rPr lang="en-US" dirty="0"/>
              <a:t>Click to edit Eyebrow text styles</a:t>
            </a:r>
          </a:p>
        </p:txBody>
      </p:sp>
      <p:sp>
        <p:nvSpPr>
          <p:cNvPr id="8" name="Nadpis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>
                <a:latin typeface="+mj-lt"/>
              </a:defRPr>
            </a:lvl1pPr>
          </a:lstStyle>
          <a:p>
            <a:r>
              <a:rPr lang="cs-CZ" dirty="0" smtClean="0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91105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2214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46935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22040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89692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43165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939636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169" y="188916"/>
            <a:ext cx="11133667" cy="1008061"/>
          </a:xfrm>
        </p:spPr>
        <p:txBody>
          <a:bodyPr/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29168" y="6311904"/>
            <a:ext cx="5465232" cy="390525"/>
          </a:xfrm>
        </p:spPr>
        <p:txBody>
          <a:bodyPr lIns="0" tIns="0" rIns="0" bIns="0" anchor="b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s</a:t>
            </a:r>
            <a:endParaRPr lang="en-GB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197601" y="6311904"/>
            <a:ext cx="5465232" cy="390525"/>
          </a:xfrm>
        </p:spPr>
        <p:txBody>
          <a:bodyPr lIns="0" tIns="0" rIns="0" bIns="0"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45425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169" y="188916"/>
            <a:ext cx="11133667" cy="1008061"/>
          </a:xfrm>
        </p:spPr>
        <p:txBody>
          <a:bodyPr/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29168" y="6311904"/>
            <a:ext cx="5465232" cy="390525"/>
          </a:xfrm>
        </p:spPr>
        <p:txBody>
          <a:bodyPr lIns="0" tIns="0" rIns="0" bIns="0" anchor="b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s</a:t>
            </a:r>
            <a:endParaRPr lang="en-GB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197601" y="6311904"/>
            <a:ext cx="5465232" cy="390525"/>
          </a:xfrm>
        </p:spPr>
        <p:txBody>
          <a:bodyPr lIns="0" tIns="0" rIns="0" bIns="0"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648573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169" y="188916"/>
            <a:ext cx="11133667" cy="1008061"/>
          </a:xfrm>
        </p:spPr>
        <p:txBody>
          <a:bodyPr/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29168" y="6311904"/>
            <a:ext cx="5465232" cy="390525"/>
          </a:xfrm>
        </p:spPr>
        <p:txBody>
          <a:bodyPr lIns="0" tIns="0" rIns="0" bIns="0" anchor="b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s</a:t>
            </a:r>
            <a:endParaRPr lang="en-GB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197601" y="6311904"/>
            <a:ext cx="5465232" cy="390525"/>
          </a:xfrm>
        </p:spPr>
        <p:txBody>
          <a:bodyPr lIns="0" tIns="0" rIns="0" bIns="0"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112664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6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33419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>
                <a:latin typeface="+mj-lt"/>
              </a:defRPr>
            </a:lvl1pPr>
          </a:lstStyle>
          <a:p>
            <a:r>
              <a:rPr lang="cs-CZ" dirty="0" smtClean="0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16862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6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15938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6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75530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6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7610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6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04090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0781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54553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90175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3577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7286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7995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F11A60-C1D9-495C-93C4-2722302DEA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6"/>
          <a:ext cx="2116" cy="21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F11A60-C1D9-495C-93C4-2722302DE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6"/>
                        <a:ext cx="2116" cy="21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6103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0507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52589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7220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70224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70659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462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53967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6138" y="2141104"/>
            <a:ext cx="10676443" cy="12192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4267"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6138" y="3360304"/>
            <a:ext cx="10676443" cy="600000"/>
          </a:xfrm>
        </p:spPr>
        <p:txBody>
          <a:bodyPr>
            <a:noAutofit/>
          </a:bodyPr>
          <a:lstStyle>
            <a:lvl1pPr marL="0" indent="0" algn="l">
              <a:buNone/>
              <a:defRPr sz="3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906142" y="4573855"/>
            <a:ext cx="5900236" cy="3072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906142" y="4888956"/>
            <a:ext cx="5900236" cy="3072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6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906141" y="5960713"/>
            <a:ext cx="5313011" cy="307777"/>
          </a:xfrm>
        </p:spPr>
        <p:txBody>
          <a:bodyPr bIns="234000">
            <a:noAutofit/>
          </a:bodyPr>
          <a:lstStyle>
            <a:lvl1pPr marL="0" indent="0">
              <a:buFontTx/>
              <a:buNone/>
              <a:defRPr sz="16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F09BDC6-7877-41F3-AAA1-8948FB6A5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7715"/>
          <a:stretch/>
        </p:blipFill>
        <p:spPr>
          <a:xfrm>
            <a:off x="9300815" y="81621"/>
            <a:ext cx="2809491" cy="3737323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AB2A6EE-425B-4592-8D04-0D33368B1F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3053" b="73766"/>
          <a:stretch/>
        </p:blipFill>
        <p:spPr>
          <a:xfrm>
            <a:off x="471" y="0"/>
            <a:ext cx="3404883" cy="1359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1429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an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5600" y="1265445"/>
            <a:ext cx="11361117" cy="4013627"/>
          </a:xfrm>
        </p:spPr>
        <p:txBody>
          <a:bodyPr>
            <a:noAutofit/>
          </a:bodyPr>
          <a:lstStyle>
            <a:lvl1pPr marL="304792" indent="-304792">
              <a:spcBef>
                <a:spcPts val="1600"/>
              </a:spcBef>
              <a:buSzPct val="100000"/>
              <a:buFont typeface="Wingdings" panose="05000000000000000000" pitchFamily="2" charset="2"/>
              <a:buChar char="§"/>
              <a:defRPr/>
            </a:lvl1pPr>
            <a:lvl2pPr>
              <a:defRPr sz="1867"/>
            </a:lvl2pPr>
            <a:lvl3pPr>
              <a:defRPr sz="1867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3E104D-5175-461A-8933-9305AF216E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99" y="239712"/>
            <a:ext cx="11361119" cy="99186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4E80BB6-0D5C-450E-ADC4-14334E718B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9488" y="6356351"/>
            <a:ext cx="8360979" cy="366183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593B48AE-49EA-4593-810B-75EA8B0A3C9B}"/>
              </a:ext>
            </a:extLst>
          </p:cNvPr>
          <p:cNvSpPr txBox="1">
            <a:spLocks/>
          </p:cNvSpPr>
          <p:nvPr userDrawn="1"/>
        </p:nvSpPr>
        <p:spPr>
          <a:xfrm>
            <a:off x="11449269" y="6356351"/>
            <a:ext cx="563179" cy="366183"/>
          </a:xfrm>
          <a:prstGeom prst="rect">
            <a:avLst/>
          </a:prstGeom>
        </p:spPr>
        <p:txBody>
          <a:bodyPr vert="horz" wrap="square" lIns="121920" tIns="60960" rIns="121920" bIns="6096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defTabSz="457200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A9A48899-AC57-4EB2-A062-06172E4EA662}" type="slidenum">
              <a:rPr lang="en-GB" sz="12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83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914401" y="2145600"/>
            <a:ext cx="10833315" cy="12192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914402" y="3370145"/>
            <a:ext cx="10833315" cy="672000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3802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5600" y="1499639"/>
            <a:ext cx="10742400" cy="4681421"/>
          </a:xfrm>
        </p:spPr>
        <p:txBody>
          <a:bodyPr>
            <a:noAutofit/>
          </a:bodyPr>
          <a:lstStyle>
            <a:lvl1pPr marL="304792" indent="-304792">
              <a:buSzPct val="100000"/>
              <a:buFont typeface="Wingdings" panose="05000000000000000000" pitchFamily="2" charset="2"/>
              <a:buChar char="§"/>
              <a:defRPr/>
            </a:lvl1pPr>
            <a:lvl2pPr>
              <a:spcAft>
                <a:spcPts val="0"/>
              </a:spcAft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55599" y="242906"/>
            <a:ext cx="11412780" cy="553999"/>
          </a:xfrm>
        </p:spPr>
        <p:txBody>
          <a:bodyPr anchor="b">
            <a:noAutofit/>
          </a:bodyPr>
          <a:lstStyle>
            <a:lvl1pPr>
              <a:defRPr sz="320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D83D96-D520-43E8-9FE3-99F474E31BD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5B49EF-5E87-4C50-B4A7-2764078B8C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601" y="6377213"/>
            <a:ext cx="9520865" cy="451404"/>
          </a:xfr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933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Click to edit FN</a:t>
            </a:r>
          </a:p>
        </p:txBody>
      </p:sp>
    </p:spTree>
    <p:extLst>
      <p:ext uri="{BB962C8B-B14F-4D97-AF65-F5344CB8AC3E}">
        <p14:creationId xmlns:p14="http://schemas.microsoft.com/office/powerpoint/2010/main" val="290316565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55601" y="1498600"/>
            <a:ext cx="4551516" cy="4013627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133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078037" y="1499027"/>
            <a:ext cx="6038400" cy="4013200"/>
          </a:xfrm>
        </p:spPr>
        <p:txBody>
          <a:bodyPr>
            <a:noAutofit/>
          </a:bodyPr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5599" y="273801"/>
            <a:ext cx="11257796" cy="553999"/>
          </a:xfrm>
        </p:spPr>
        <p:txBody>
          <a:bodyPr anchor="b">
            <a:noAutofit/>
          </a:bodyPr>
          <a:lstStyle>
            <a:lvl1pPr>
              <a:defRPr sz="320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55599" y="803001"/>
            <a:ext cx="11257795" cy="488795"/>
          </a:xfrm>
        </p:spPr>
        <p:txBody>
          <a:bodyPr>
            <a:noAutofit/>
          </a:bodyPr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231169" y="6603719"/>
            <a:ext cx="953803" cy="2461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A81B8E-DB90-4156-9998-67EBCA269C4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939955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55600" y="3522977"/>
            <a:ext cx="10742400" cy="1994017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0000"/>
              </a:buClr>
              <a:buSzPct val="35000"/>
              <a:buFont typeface="Wingdings" charset="2"/>
              <a:buNone/>
              <a:tabLst/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55600" y="1503794"/>
            <a:ext cx="10742400" cy="1895281"/>
          </a:xfrm>
        </p:spPr>
        <p:txBody>
          <a:bodyPr>
            <a:no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5600" y="273801"/>
            <a:ext cx="11268129" cy="553999"/>
          </a:xfrm>
        </p:spPr>
        <p:txBody>
          <a:bodyPr anchor="b">
            <a:noAutofit/>
          </a:bodyPr>
          <a:lstStyle>
            <a:lvl1pPr>
              <a:defRPr sz="2933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55600" y="803001"/>
            <a:ext cx="11268129" cy="488795"/>
          </a:xfrm>
        </p:spPr>
        <p:txBody>
          <a:bodyPr>
            <a:noAutofit/>
          </a:bodyPr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231169" y="6603719"/>
            <a:ext cx="953803" cy="2461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E3CF81-11EA-405E-A3EC-9D48E6C9B03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388578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0" y="275121"/>
            <a:ext cx="11495437" cy="553999"/>
          </a:xfrm>
        </p:spPr>
        <p:txBody>
          <a:bodyPr anchor="b">
            <a:noAutofit/>
          </a:bodyPr>
          <a:lstStyle>
            <a:lvl1pPr>
              <a:defRPr sz="2933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55600" y="1498600"/>
            <a:ext cx="10742400" cy="4020208"/>
          </a:xfrm>
        </p:spPr>
        <p:txBody>
          <a:bodyPr>
            <a:noAutofit/>
          </a:bodyPr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231169" y="6603719"/>
            <a:ext cx="953803" cy="2461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A788FA-F864-4521-9DFD-AF03C9BFF3E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792680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231169" y="6603719"/>
            <a:ext cx="953803" cy="2461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F692A5-A8C0-47CD-A2C0-7DF226E98A5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46623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5600" y="1498600"/>
            <a:ext cx="10982400" cy="401362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5600" y="273801"/>
            <a:ext cx="11371451" cy="553999"/>
          </a:xfrm>
        </p:spPr>
        <p:txBody>
          <a:bodyPr anchor="b">
            <a:noAutofit/>
          </a:bodyPr>
          <a:lstStyle>
            <a:lvl1pPr>
              <a:defRPr sz="2933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55600" y="803001"/>
            <a:ext cx="11371451" cy="488795"/>
          </a:xfrm>
        </p:spPr>
        <p:txBody>
          <a:bodyPr>
            <a:noAutofit/>
          </a:bodyPr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11231169" y="6603719"/>
            <a:ext cx="953803" cy="2461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1A7CD0-78D0-42EA-ADB5-8E9333008CA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987568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914402" y="3692527"/>
            <a:ext cx="3992033" cy="2140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2067" b="1" baseline="30000" dirty="0">
                <a:solidFill>
                  <a:schemeClr val="tx1"/>
                </a:solidFill>
                <a:latin typeface="Arial Narrow" pitchFamily="34" charset="0"/>
              </a:rPr>
              <a:t>Contacts ESMO </a:t>
            </a:r>
          </a:p>
          <a:p>
            <a:pPr eaLnBrk="1" hangingPunct="1">
              <a:defRPr/>
            </a:pPr>
            <a:endParaRPr lang="en-US" altLang="en-US" sz="2067" b="1" baseline="30000" dirty="0">
              <a:solidFill>
                <a:schemeClr val="tx1"/>
              </a:solidFill>
              <a:latin typeface="Arial Narrow" pitchFamily="34" charset="0"/>
            </a:endParaRPr>
          </a:p>
          <a:p>
            <a:pPr eaLnBrk="1" hangingPunct="1">
              <a:defRPr/>
            </a:pP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>European Society for Medical Oncology </a:t>
            </a:r>
            <a:b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</a:b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>Via Ginevra 4, CH-6900 Lugano</a:t>
            </a:r>
            <a:b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</a:br>
            <a:endParaRPr lang="en-US" altLang="en-US" sz="2067" baseline="30000" dirty="0">
              <a:solidFill>
                <a:schemeClr val="tx1"/>
              </a:solidFill>
              <a:latin typeface="Arial Narrow" pitchFamily="34" charset="0"/>
            </a:endParaRPr>
          </a:p>
          <a:p>
            <a:pPr eaLnBrk="1" hangingPunct="1">
              <a:defRPr/>
            </a:pP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/>
            </a:r>
            <a:b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</a:b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>http://www.esmo.org</a:t>
            </a:r>
            <a:endParaRPr lang="en-US" altLang="en-US" sz="2067" b="1" baseline="0" dirty="0">
              <a:solidFill>
                <a:schemeClr val="tx1"/>
              </a:solidFill>
              <a:latin typeface="Arial Narrow" pitchFamily="34" charset="0"/>
            </a:endParaRPr>
          </a:p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>esmo@esmo.org</a:t>
            </a:r>
          </a:p>
          <a:p>
            <a:pPr eaLnBrk="1" hangingPunct="1">
              <a:defRPr/>
            </a:pPr>
            <a:endParaRPr lang="en-US" altLang="en-US" sz="2400" baseline="30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914401" y="2266720"/>
            <a:ext cx="6924495" cy="297517"/>
          </a:xfrm>
        </p:spPr>
        <p:txBody>
          <a:bodyPr tIns="140400" anchor="ctr">
            <a:noAutofit/>
          </a:bodyPr>
          <a:lstStyle>
            <a:lvl1pPr marL="0" indent="0" rtl="0">
              <a:buFontTx/>
              <a:buNone/>
              <a:defRPr lang="en-US" sz="2267" b="1" i="0" u="none" strike="noStrike" baseline="30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914400" y="2664487"/>
            <a:ext cx="6924493" cy="270475"/>
          </a:xfrm>
        </p:spPr>
        <p:txBody>
          <a:bodyPr tIns="93600" bIns="0" anchor="ctr">
            <a:noAutofit/>
          </a:bodyPr>
          <a:lstStyle>
            <a:lvl1pPr marL="0" indent="0" rtl="0">
              <a:buFontTx/>
              <a:buNone/>
              <a:defRPr lang="en-US" sz="2267" b="0" i="0" u="none" strike="noStrike" baseline="30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2937600"/>
            <a:ext cx="6924493" cy="297600"/>
          </a:xfrm>
        </p:spPr>
        <p:txBody>
          <a:bodyPr tIns="93600" bIns="0" anchor="ctr">
            <a:noAutofit/>
          </a:bodyPr>
          <a:lstStyle>
            <a:lvl1pPr marL="0" indent="0" rtl="0">
              <a:buFontTx/>
              <a:buNone/>
              <a:defRPr lang="en-US" sz="2267" b="0" i="0" u="none" strike="noStrike" baseline="30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fr-CH" dirty="0"/>
              <a:t>Click to edit Master text sty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231169" y="6603719"/>
            <a:ext cx="953803" cy="2461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19FB4C-FCC4-423E-B433-D9FA2CAED6D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446175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552121"/>
            <a:ext cx="10742399" cy="553999"/>
          </a:xfrm>
        </p:spPr>
        <p:txBody>
          <a:bodyPr anchor="b">
            <a:noAutofit/>
          </a:bodyPr>
          <a:lstStyle>
            <a:lvl1pPr>
              <a:defRPr sz="320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19999" y="1080001"/>
            <a:ext cx="10742399" cy="488795"/>
          </a:xfrm>
        </p:spPr>
        <p:txBody>
          <a:bodyPr>
            <a:noAutofit/>
          </a:bodyPr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0000" y="2112963"/>
            <a:ext cx="10742400" cy="4020208"/>
          </a:xfrm>
        </p:spPr>
        <p:txBody>
          <a:bodyPr>
            <a:noAutofit/>
          </a:bodyPr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170315" y="6554245"/>
            <a:ext cx="953803" cy="246184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fld id="{D7A788FA-F864-4521-9DFD-AF03C9BFF3E5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F6AC82-7C58-462A-988C-DEAE5AD351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6" y="6216651"/>
            <a:ext cx="6604180" cy="336549"/>
          </a:xfrm>
        </p:spPr>
        <p:txBody>
          <a:bodyPr anchor="b">
            <a:normAutofit/>
          </a:bodyPr>
          <a:lstStyle>
            <a:lvl1pPr marL="0" indent="0">
              <a:buNone/>
              <a:defRPr sz="1333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5198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ACF66B4-180B-405A-A8C5-AE4EB216497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74000">
                <a:schemeClr val="bg1">
                  <a:lumMod val="95000"/>
                </a:schemeClr>
              </a:gs>
              <a:gs pos="62000">
                <a:schemeClr val="bg1"/>
              </a:gs>
              <a:gs pos="100000">
                <a:srgbClr val="D0D2D0"/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i="1" dirty="0">
              <a:solidFill>
                <a:srgbClr val="000000"/>
              </a:solidFill>
              <a:latin typeface="Imago-Medium" pitchFamily="2" charset="0"/>
              <a:ea typeface="MS PGothic" pitchFamily="34" charset="-128"/>
            </a:endParaRPr>
          </a:p>
        </p:txBody>
      </p:sp>
      <p:pic>
        <p:nvPicPr>
          <p:cNvPr id="24" name="Picture 2" descr="X:\Studio_Main\PRESENTATIONS\04 Logos\Roche\Roche 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72596" y="456112"/>
            <a:ext cx="840941" cy="43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6595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394512" y="2812656"/>
            <a:ext cx="6291853" cy="659076"/>
          </a:xfrm>
        </p:spPr>
        <p:txBody>
          <a:bodyPr lIns="0" tIns="0" rIns="0" bIns="0" anchor="b"/>
          <a:lstStyle>
            <a:lvl1pPr>
              <a:lnSpc>
                <a:spcPct val="100000"/>
              </a:lnSpc>
              <a:defRPr sz="3200" b="1">
                <a:solidFill>
                  <a:schemeClr val="accent1"/>
                </a:solidFill>
                <a:latin typeface="Imago" pitchFamily="2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2C6B3C4-7719-4287-8DBA-6CC878FB8C0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394512" y="2014798"/>
            <a:ext cx="6291853" cy="37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accent1"/>
                </a:solidFill>
                <a:latin typeface="Imago" pitchFamily="2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5pPr>
            <a:lvl6pPr marL="60958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6pPr>
            <a:lvl7pPr marL="121917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7pPr>
            <a:lvl8pPr marL="182875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8pPr>
            <a:lvl9pPr marL="24383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9pPr>
          </a:lstStyle>
          <a:p>
            <a:r>
              <a:rPr lang="en-US" sz="2200" b="0" kern="0" dirty="0">
                <a:solidFill>
                  <a:srgbClr val="000000"/>
                </a:solidFill>
              </a:rPr>
              <a:t>ESMO 2018 Industry Satellite Symposium</a:t>
            </a:r>
            <a:endParaRPr lang="en-GB" sz="2200" b="0" kern="0" dirty="0">
              <a:solidFill>
                <a:srgbClr val="000000"/>
              </a:solidFill>
            </a:endParaRPr>
          </a:p>
        </p:txBody>
      </p:sp>
      <p:sp>
        <p:nvSpPr>
          <p:cNvPr id="1050" name="Rectangle 1049">
            <a:extLst>
              <a:ext uri="{FF2B5EF4-FFF2-40B4-BE49-F238E27FC236}">
                <a16:creationId xmlns:a16="http://schemas.microsoft.com/office/drawing/2014/main" id="{A5DE590E-D5D2-424E-915F-A8A7340DBA03}"/>
              </a:ext>
            </a:extLst>
          </p:cNvPr>
          <p:cNvSpPr/>
          <p:nvPr userDrawn="1"/>
        </p:nvSpPr>
        <p:spPr bwMode="auto">
          <a:xfrm>
            <a:off x="0" y="6248400"/>
            <a:ext cx="12192000" cy="609600"/>
          </a:xfrm>
          <a:prstGeom prst="rect">
            <a:avLst/>
          </a:prstGeom>
          <a:gradFill flip="none" rotWithShape="1">
            <a:gsLst>
              <a:gs pos="31000">
                <a:schemeClr val="accent1"/>
              </a:gs>
              <a:gs pos="0">
                <a:schemeClr val="accent1"/>
              </a:gs>
              <a:gs pos="7800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i="1" dirty="0">
              <a:solidFill>
                <a:srgbClr val="000000"/>
              </a:solidFill>
              <a:latin typeface="Imago-Medium" pitchFamily="2" charset="0"/>
              <a:ea typeface="MS PGothic" pitchFamily="34" charset="-128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56A26AC-0753-48E4-9891-A8AE8710A4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71" t="13357" r="2058" b="9172"/>
          <a:stretch/>
        </p:blipFill>
        <p:spPr>
          <a:xfrm>
            <a:off x="6562168" y="4751294"/>
            <a:ext cx="4751294" cy="2195869"/>
          </a:xfrm>
          <a:prstGeom prst="rect">
            <a:avLst/>
          </a:prstGeom>
        </p:spPr>
      </p:pic>
      <p:grpSp>
        <p:nvGrpSpPr>
          <p:cNvPr id="367005" name="Group 367004">
            <a:extLst>
              <a:ext uri="{FF2B5EF4-FFF2-40B4-BE49-F238E27FC236}">
                <a16:creationId xmlns:a16="http://schemas.microsoft.com/office/drawing/2014/main" id="{E73810FE-FAA6-4383-B1EF-D147CFAD28E1}"/>
              </a:ext>
            </a:extLst>
          </p:cNvPr>
          <p:cNvGrpSpPr/>
          <p:nvPr userDrawn="1"/>
        </p:nvGrpSpPr>
        <p:grpSpPr>
          <a:xfrm>
            <a:off x="-6525" y="110265"/>
            <a:ext cx="3275279" cy="6747736"/>
            <a:chOff x="-6525" y="110265"/>
            <a:chExt cx="3275279" cy="6747736"/>
          </a:xfrm>
        </p:grpSpPr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AC75380F-1C57-4A78-AA32-822E18571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87" y="2202364"/>
              <a:ext cx="3241008" cy="4655637"/>
            </a:xfrm>
            <a:custGeom>
              <a:avLst/>
              <a:gdLst>
                <a:gd name="connsiteX0" fmla="*/ 1010949 w 3241008"/>
                <a:gd name="connsiteY0" fmla="*/ 0 h 4655637"/>
                <a:gd name="connsiteX1" fmla="*/ 1009241 w 3241008"/>
                <a:gd name="connsiteY1" fmla="*/ 110908 h 4655637"/>
                <a:gd name="connsiteX2" fmla="*/ 1007534 w 3241008"/>
                <a:gd name="connsiteY2" fmla="*/ 250821 h 4655637"/>
                <a:gd name="connsiteX3" fmla="*/ 1007534 w 3241008"/>
                <a:gd name="connsiteY3" fmla="*/ 380497 h 4655637"/>
                <a:gd name="connsiteX4" fmla="*/ 1009241 w 3241008"/>
                <a:gd name="connsiteY4" fmla="*/ 431685 h 4655637"/>
                <a:gd name="connsiteX5" fmla="*/ 1011802 w 3241008"/>
                <a:gd name="connsiteY5" fmla="*/ 465811 h 4655637"/>
                <a:gd name="connsiteX6" fmla="*/ 1013508 w 3241008"/>
                <a:gd name="connsiteY6" fmla="*/ 469223 h 4655637"/>
                <a:gd name="connsiteX7" fmla="*/ 1022044 w 3241008"/>
                <a:gd name="connsiteY7" fmla="*/ 476901 h 4655637"/>
                <a:gd name="connsiteX8" fmla="*/ 1048501 w 3241008"/>
                <a:gd name="connsiteY8" fmla="*/ 494817 h 4655637"/>
                <a:gd name="connsiteX9" fmla="*/ 1089468 w 3241008"/>
                <a:gd name="connsiteY9" fmla="*/ 519557 h 4655637"/>
                <a:gd name="connsiteX10" fmla="*/ 1141531 w 3241008"/>
                <a:gd name="connsiteY10" fmla="*/ 549417 h 4655637"/>
                <a:gd name="connsiteX11" fmla="*/ 1203835 w 3241008"/>
                <a:gd name="connsiteY11" fmla="*/ 582689 h 4655637"/>
                <a:gd name="connsiteX12" fmla="*/ 1272967 w 3241008"/>
                <a:gd name="connsiteY12" fmla="*/ 617668 h 4655637"/>
                <a:gd name="connsiteX13" fmla="*/ 1347221 w 3241008"/>
                <a:gd name="connsiteY13" fmla="*/ 654353 h 4655637"/>
                <a:gd name="connsiteX14" fmla="*/ 1423180 w 3241008"/>
                <a:gd name="connsiteY14" fmla="*/ 690184 h 4655637"/>
                <a:gd name="connsiteX15" fmla="*/ 1510235 w 3241008"/>
                <a:gd name="connsiteY15" fmla="*/ 715778 h 4655637"/>
                <a:gd name="connsiteX16" fmla="*/ 1543522 w 3241008"/>
                <a:gd name="connsiteY16" fmla="*/ 725163 h 4655637"/>
                <a:gd name="connsiteX17" fmla="*/ 1614360 w 3241008"/>
                <a:gd name="connsiteY17" fmla="*/ 743931 h 4655637"/>
                <a:gd name="connsiteX18" fmla="*/ 1692028 w 3241008"/>
                <a:gd name="connsiteY18" fmla="*/ 764407 h 4655637"/>
                <a:gd name="connsiteX19" fmla="*/ 1785057 w 3241008"/>
                <a:gd name="connsiteY19" fmla="*/ 791707 h 4655637"/>
                <a:gd name="connsiteX20" fmla="*/ 1888329 w 3241008"/>
                <a:gd name="connsiteY20" fmla="*/ 823273 h 4655637"/>
                <a:gd name="connsiteX21" fmla="*/ 1938684 w 3241008"/>
                <a:gd name="connsiteY21" fmla="*/ 838629 h 4655637"/>
                <a:gd name="connsiteX22" fmla="*/ 1989040 w 3241008"/>
                <a:gd name="connsiteY22" fmla="*/ 857398 h 4655637"/>
                <a:gd name="connsiteX23" fmla="*/ 2036834 w 3241008"/>
                <a:gd name="connsiteY23" fmla="*/ 875314 h 4655637"/>
                <a:gd name="connsiteX24" fmla="*/ 2080362 w 3241008"/>
                <a:gd name="connsiteY24" fmla="*/ 894082 h 4655637"/>
                <a:gd name="connsiteX25" fmla="*/ 2120476 w 3241008"/>
                <a:gd name="connsiteY25" fmla="*/ 911146 h 4655637"/>
                <a:gd name="connsiteX26" fmla="*/ 2155469 w 3241008"/>
                <a:gd name="connsiteY26" fmla="*/ 930767 h 4655637"/>
                <a:gd name="connsiteX27" fmla="*/ 2174245 w 3241008"/>
                <a:gd name="connsiteY27" fmla="*/ 941858 h 4655637"/>
                <a:gd name="connsiteX28" fmla="*/ 2193022 w 3241008"/>
                <a:gd name="connsiteY28" fmla="*/ 953801 h 4655637"/>
                <a:gd name="connsiteX29" fmla="*/ 2213506 w 3241008"/>
                <a:gd name="connsiteY29" fmla="*/ 968305 h 4655637"/>
                <a:gd name="connsiteX30" fmla="*/ 2235696 w 3241008"/>
                <a:gd name="connsiteY30" fmla="*/ 987074 h 4655637"/>
                <a:gd name="connsiteX31" fmla="*/ 2257887 w 3241008"/>
                <a:gd name="connsiteY31" fmla="*/ 1007549 h 4655637"/>
                <a:gd name="connsiteX32" fmla="*/ 2281784 w 3241008"/>
                <a:gd name="connsiteY32" fmla="*/ 1031437 h 4655637"/>
                <a:gd name="connsiteX33" fmla="*/ 2304828 w 3241008"/>
                <a:gd name="connsiteY33" fmla="*/ 1058737 h 4655637"/>
                <a:gd name="connsiteX34" fmla="*/ 2328726 w 3241008"/>
                <a:gd name="connsiteY34" fmla="*/ 1090303 h 4655637"/>
                <a:gd name="connsiteX35" fmla="*/ 2352623 w 3241008"/>
                <a:gd name="connsiteY35" fmla="*/ 1124428 h 4655637"/>
                <a:gd name="connsiteX36" fmla="*/ 2378228 w 3241008"/>
                <a:gd name="connsiteY36" fmla="*/ 1164526 h 4655637"/>
                <a:gd name="connsiteX37" fmla="*/ 2402978 w 3241008"/>
                <a:gd name="connsiteY37" fmla="*/ 1207182 h 4655637"/>
                <a:gd name="connsiteX38" fmla="*/ 2428584 w 3241008"/>
                <a:gd name="connsiteY38" fmla="*/ 1254104 h 4655637"/>
                <a:gd name="connsiteX39" fmla="*/ 2454188 w 3241008"/>
                <a:gd name="connsiteY39" fmla="*/ 1306145 h 4655637"/>
                <a:gd name="connsiteX40" fmla="*/ 2478939 w 3241008"/>
                <a:gd name="connsiteY40" fmla="*/ 1365012 h 4655637"/>
                <a:gd name="connsiteX41" fmla="*/ 2504543 w 3241008"/>
                <a:gd name="connsiteY41" fmla="*/ 1426437 h 4655637"/>
                <a:gd name="connsiteX42" fmla="*/ 2528440 w 3241008"/>
                <a:gd name="connsiteY42" fmla="*/ 1494687 h 4655637"/>
                <a:gd name="connsiteX43" fmla="*/ 2540389 w 3241008"/>
                <a:gd name="connsiteY43" fmla="*/ 1533932 h 4655637"/>
                <a:gd name="connsiteX44" fmla="*/ 2554899 w 3241008"/>
                <a:gd name="connsiteY44" fmla="*/ 1582561 h 4655637"/>
                <a:gd name="connsiteX45" fmla="*/ 2589892 w 3241008"/>
                <a:gd name="connsiteY45" fmla="*/ 1710530 h 4655637"/>
                <a:gd name="connsiteX46" fmla="*/ 2629152 w 3241008"/>
                <a:gd name="connsiteY46" fmla="*/ 1871771 h 4655637"/>
                <a:gd name="connsiteX47" fmla="*/ 2675240 w 3241008"/>
                <a:gd name="connsiteY47" fmla="*/ 2062873 h 4655637"/>
                <a:gd name="connsiteX48" fmla="*/ 2723888 w 3241008"/>
                <a:gd name="connsiteY48" fmla="*/ 2276156 h 4655637"/>
                <a:gd name="connsiteX49" fmla="*/ 2775951 w 3241008"/>
                <a:gd name="connsiteY49" fmla="*/ 2509914 h 4655637"/>
                <a:gd name="connsiteX50" fmla="*/ 2886903 w 3241008"/>
                <a:gd name="connsiteY50" fmla="*/ 3010703 h 4655637"/>
                <a:gd name="connsiteX51" fmla="*/ 2997856 w 3241008"/>
                <a:gd name="connsiteY51" fmla="*/ 3525995 h 4655637"/>
                <a:gd name="connsiteX52" fmla="*/ 3101981 w 3241008"/>
                <a:gd name="connsiteY52" fmla="*/ 4013986 h 4655637"/>
                <a:gd name="connsiteX53" fmla="*/ 3193303 w 3241008"/>
                <a:gd name="connsiteY53" fmla="*/ 4436286 h 4655637"/>
                <a:gd name="connsiteX54" fmla="*/ 3241008 w 3241008"/>
                <a:gd name="connsiteY54" fmla="*/ 4655637 h 4655637"/>
                <a:gd name="connsiteX55" fmla="*/ 2513510 w 3241008"/>
                <a:gd name="connsiteY55" fmla="*/ 4655637 h 4655637"/>
                <a:gd name="connsiteX56" fmla="*/ 2485766 w 3241008"/>
                <a:gd name="connsiteY56" fmla="*/ 4652129 h 4655637"/>
                <a:gd name="connsiteX57" fmla="*/ 2471257 w 3241008"/>
                <a:gd name="connsiteY57" fmla="*/ 4600088 h 4655637"/>
                <a:gd name="connsiteX58" fmla="*/ 2454188 w 3241008"/>
                <a:gd name="connsiteY58" fmla="*/ 4535250 h 4655637"/>
                <a:gd name="connsiteX59" fmla="*/ 2412367 w 3241008"/>
                <a:gd name="connsiteY59" fmla="*/ 4371449 h 4655637"/>
                <a:gd name="connsiteX60" fmla="*/ 2367132 w 3241008"/>
                <a:gd name="connsiteY60" fmla="*/ 4169256 h 4655637"/>
                <a:gd name="connsiteX61" fmla="*/ 2315070 w 3241008"/>
                <a:gd name="connsiteY61" fmla="*/ 3941470 h 4655637"/>
                <a:gd name="connsiteX62" fmla="*/ 2261300 w 3241008"/>
                <a:gd name="connsiteY62" fmla="*/ 3700034 h 4655637"/>
                <a:gd name="connsiteX63" fmla="*/ 2207531 w 3241008"/>
                <a:gd name="connsiteY63" fmla="*/ 3455185 h 4655637"/>
                <a:gd name="connsiteX64" fmla="*/ 2156322 w 3241008"/>
                <a:gd name="connsiteY64" fmla="*/ 3216308 h 4655637"/>
                <a:gd name="connsiteX65" fmla="*/ 2111087 w 3241008"/>
                <a:gd name="connsiteY65" fmla="*/ 2997052 h 4655637"/>
                <a:gd name="connsiteX66" fmla="*/ 2094871 w 3241008"/>
                <a:gd name="connsiteY66" fmla="*/ 3028619 h 4655637"/>
                <a:gd name="connsiteX67" fmla="*/ 2076094 w 3241008"/>
                <a:gd name="connsiteY67" fmla="*/ 3061891 h 4655637"/>
                <a:gd name="connsiteX68" fmla="*/ 2066706 w 3241008"/>
                <a:gd name="connsiteY68" fmla="*/ 3113932 h 4655637"/>
                <a:gd name="connsiteX69" fmla="*/ 2053904 w 3241008"/>
                <a:gd name="connsiteY69" fmla="*/ 3165973 h 4655637"/>
                <a:gd name="connsiteX70" fmla="*/ 2014644 w 3241008"/>
                <a:gd name="connsiteY70" fmla="*/ 3334893 h 4655637"/>
                <a:gd name="connsiteX71" fmla="*/ 1968556 w 3241008"/>
                <a:gd name="connsiteY71" fmla="*/ 3531966 h 4655637"/>
                <a:gd name="connsiteX72" fmla="*/ 1922468 w 3241008"/>
                <a:gd name="connsiteY72" fmla="*/ 3746956 h 4655637"/>
                <a:gd name="connsiteX73" fmla="*/ 1877233 w 3241008"/>
                <a:gd name="connsiteY73" fmla="*/ 3967917 h 4655637"/>
                <a:gd name="connsiteX74" fmla="*/ 1834559 w 3241008"/>
                <a:gd name="connsiteY74" fmla="*/ 4184612 h 4655637"/>
                <a:gd name="connsiteX75" fmla="*/ 1796152 w 3241008"/>
                <a:gd name="connsiteY75" fmla="*/ 4386805 h 4655637"/>
                <a:gd name="connsiteX76" fmla="*/ 1766280 w 3241008"/>
                <a:gd name="connsiteY76" fmla="*/ 4564256 h 4655637"/>
                <a:gd name="connsiteX77" fmla="*/ 1755185 w 3241008"/>
                <a:gd name="connsiteY77" fmla="*/ 4639332 h 4655637"/>
                <a:gd name="connsiteX78" fmla="*/ 1752824 w 3241008"/>
                <a:gd name="connsiteY78" fmla="*/ 4655637 h 4655637"/>
                <a:gd name="connsiteX79" fmla="*/ 0 w 3241008"/>
                <a:gd name="connsiteY79" fmla="*/ 4655637 h 4655637"/>
                <a:gd name="connsiteX80" fmla="*/ 0 w 3241008"/>
                <a:gd name="connsiteY80" fmla="*/ 855812 h 4655637"/>
                <a:gd name="connsiteX81" fmla="*/ 33711 w 3241008"/>
                <a:gd name="connsiteY81" fmla="*/ 878726 h 4655637"/>
                <a:gd name="connsiteX82" fmla="*/ 76385 w 3241008"/>
                <a:gd name="connsiteY82" fmla="*/ 901760 h 4655637"/>
                <a:gd name="connsiteX83" fmla="*/ 113938 w 3241008"/>
                <a:gd name="connsiteY83" fmla="*/ 922236 h 4655637"/>
                <a:gd name="connsiteX84" fmla="*/ 148931 w 3241008"/>
                <a:gd name="connsiteY84" fmla="*/ 941858 h 4655637"/>
                <a:gd name="connsiteX85" fmla="*/ 202700 w 3241008"/>
                <a:gd name="connsiteY85" fmla="*/ 964892 h 4655637"/>
                <a:gd name="connsiteX86" fmla="*/ 224891 w 3241008"/>
                <a:gd name="connsiteY86" fmla="*/ 974277 h 4655637"/>
                <a:gd name="connsiteX87" fmla="*/ 204407 w 3241008"/>
                <a:gd name="connsiteY87" fmla="*/ 936739 h 4655637"/>
                <a:gd name="connsiteX88" fmla="*/ 185630 w 3241008"/>
                <a:gd name="connsiteY88" fmla="*/ 897495 h 4655637"/>
                <a:gd name="connsiteX89" fmla="*/ 163439 w 3241008"/>
                <a:gd name="connsiteY89" fmla="*/ 847160 h 4655637"/>
                <a:gd name="connsiteX90" fmla="*/ 152344 w 3241008"/>
                <a:gd name="connsiteY90" fmla="*/ 818154 h 4655637"/>
                <a:gd name="connsiteX91" fmla="*/ 141249 w 3241008"/>
                <a:gd name="connsiteY91" fmla="*/ 788294 h 4655637"/>
                <a:gd name="connsiteX92" fmla="*/ 131861 w 3241008"/>
                <a:gd name="connsiteY92" fmla="*/ 756728 h 4655637"/>
                <a:gd name="connsiteX93" fmla="*/ 122472 w 3241008"/>
                <a:gd name="connsiteY93" fmla="*/ 723456 h 4655637"/>
                <a:gd name="connsiteX94" fmla="*/ 113938 w 3241008"/>
                <a:gd name="connsiteY94" fmla="*/ 690184 h 4655637"/>
                <a:gd name="connsiteX95" fmla="*/ 109671 w 3241008"/>
                <a:gd name="connsiteY95" fmla="*/ 655206 h 4655637"/>
                <a:gd name="connsiteX96" fmla="*/ 104550 w 3241008"/>
                <a:gd name="connsiteY96" fmla="*/ 622786 h 4655637"/>
                <a:gd name="connsiteX97" fmla="*/ 102842 w 3241008"/>
                <a:gd name="connsiteY97" fmla="*/ 587808 h 4655637"/>
                <a:gd name="connsiteX98" fmla="*/ 104550 w 3241008"/>
                <a:gd name="connsiteY98" fmla="*/ 532355 h 4655637"/>
                <a:gd name="connsiteX99" fmla="*/ 106256 w 3241008"/>
                <a:gd name="connsiteY99" fmla="*/ 489698 h 4655637"/>
                <a:gd name="connsiteX100" fmla="*/ 111377 w 3241008"/>
                <a:gd name="connsiteY100" fmla="*/ 453013 h 4655637"/>
                <a:gd name="connsiteX101" fmla="*/ 106256 w 3241008"/>
                <a:gd name="connsiteY101" fmla="*/ 5972 h 4655637"/>
                <a:gd name="connsiteX102" fmla="*/ 128447 w 3241008"/>
                <a:gd name="connsiteY102" fmla="*/ 28153 h 4655637"/>
                <a:gd name="connsiteX103" fmla="*/ 148931 w 3241008"/>
                <a:gd name="connsiteY103" fmla="*/ 48629 h 4655637"/>
                <a:gd name="connsiteX104" fmla="*/ 169414 w 3241008"/>
                <a:gd name="connsiteY104" fmla="*/ 68251 h 4655637"/>
                <a:gd name="connsiteX105" fmla="*/ 189045 w 3241008"/>
                <a:gd name="connsiteY105" fmla="*/ 83607 h 4655637"/>
                <a:gd name="connsiteX106" fmla="*/ 224891 w 3241008"/>
                <a:gd name="connsiteY106" fmla="*/ 110908 h 4655637"/>
                <a:gd name="connsiteX107" fmla="*/ 258176 w 3241008"/>
                <a:gd name="connsiteY107" fmla="*/ 131382 h 4655637"/>
                <a:gd name="connsiteX108" fmla="*/ 288048 w 3241008"/>
                <a:gd name="connsiteY108" fmla="*/ 151858 h 4655637"/>
                <a:gd name="connsiteX109" fmla="*/ 321334 w 3241008"/>
                <a:gd name="connsiteY109" fmla="*/ 170627 h 4655637"/>
                <a:gd name="connsiteX110" fmla="*/ 354620 w 3241008"/>
                <a:gd name="connsiteY110" fmla="*/ 189395 h 4655637"/>
                <a:gd name="connsiteX111" fmla="*/ 389613 w 3241008"/>
                <a:gd name="connsiteY111" fmla="*/ 205605 h 4655637"/>
                <a:gd name="connsiteX112" fmla="*/ 425459 w 3241008"/>
                <a:gd name="connsiteY112" fmla="*/ 219255 h 4655637"/>
                <a:gd name="connsiteX113" fmla="*/ 445943 w 3241008"/>
                <a:gd name="connsiteY113" fmla="*/ 226080 h 4655637"/>
                <a:gd name="connsiteX114" fmla="*/ 465573 w 3241008"/>
                <a:gd name="connsiteY114" fmla="*/ 230345 h 4655637"/>
                <a:gd name="connsiteX115" fmla="*/ 487763 w 3241008"/>
                <a:gd name="connsiteY115" fmla="*/ 235464 h 4655637"/>
                <a:gd name="connsiteX116" fmla="*/ 509100 w 3241008"/>
                <a:gd name="connsiteY116" fmla="*/ 237171 h 4655637"/>
                <a:gd name="connsiteX117" fmla="*/ 531291 w 3241008"/>
                <a:gd name="connsiteY117" fmla="*/ 239730 h 4655637"/>
                <a:gd name="connsiteX118" fmla="*/ 556895 w 3241008"/>
                <a:gd name="connsiteY118" fmla="*/ 239730 h 4655637"/>
                <a:gd name="connsiteX119" fmla="*/ 580793 w 3241008"/>
                <a:gd name="connsiteY119" fmla="*/ 239730 h 4655637"/>
                <a:gd name="connsiteX120" fmla="*/ 602983 w 3241008"/>
                <a:gd name="connsiteY120" fmla="*/ 237171 h 4655637"/>
                <a:gd name="connsiteX121" fmla="*/ 625174 w 3241008"/>
                <a:gd name="connsiteY121" fmla="*/ 233759 h 4655637"/>
                <a:gd name="connsiteX122" fmla="*/ 645658 w 3241008"/>
                <a:gd name="connsiteY122" fmla="*/ 230345 h 4655637"/>
                <a:gd name="connsiteX123" fmla="*/ 666141 w 3241008"/>
                <a:gd name="connsiteY123" fmla="*/ 226080 h 4655637"/>
                <a:gd name="connsiteX124" fmla="*/ 684918 w 3241008"/>
                <a:gd name="connsiteY124" fmla="*/ 219255 h 4655637"/>
                <a:gd name="connsiteX125" fmla="*/ 723324 w 3241008"/>
                <a:gd name="connsiteY125" fmla="*/ 205605 h 4655637"/>
                <a:gd name="connsiteX126" fmla="*/ 757464 w 3241008"/>
                <a:gd name="connsiteY126" fmla="*/ 189395 h 4655637"/>
                <a:gd name="connsiteX127" fmla="*/ 790750 w 3241008"/>
                <a:gd name="connsiteY127" fmla="*/ 170627 h 4655637"/>
                <a:gd name="connsiteX128" fmla="*/ 824035 w 3241008"/>
                <a:gd name="connsiteY128" fmla="*/ 151858 h 4655637"/>
                <a:gd name="connsiteX129" fmla="*/ 853907 w 3241008"/>
                <a:gd name="connsiteY129" fmla="*/ 131382 h 4655637"/>
                <a:gd name="connsiteX130" fmla="*/ 887193 w 3241008"/>
                <a:gd name="connsiteY130" fmla="*/ 109201 h 4655637"/>
                <a:gd name="connsiteX131" fmla="*/ 925600 w 3241008"/>
                <a:gd name="connsiteY131" fmla="*/ 81901 h 4655637"/>
                <a:gd name="connsiteX132" fmla="*/ 946084 w 3241008"/>
                <a:gd name="connsiteY132" fmla="*/ 64838 h 4655637"/>
                <a:gd name="connsiteX133" fmla="*/ 968274 w 3241008"/>
                <a:gd name="connsiteY133" fmla="*/ 46069 h 4655637"/>
                <a:gd name="connsiteX134" fmla="*/ 988757 w 3241008"/>
                <a:gd name="connsiteY134" fmla="*/ 23888 h 465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3241008" h="4655637">
                  <a:moveTo>
                    <a:pt x="1010949" y="0"/>
                  </a:moveTo>
                  <a:lnTo>
                    <a:pt x="1009241" y="110908"/>
                  </a:lnTo>
                  <a:lnTo>
                    <a:pt x="1007534" y="250821"/>
                  </a:lnTo>
                  <a:lnTo>
                    <a:pt x="1007534" y="380497"/>
                  </a:lnTo>
                  <a:lnTo>
                    <a:pt x="1009241" y="431685"/>
                  </a:lnTo>
                  <a:lnTo>
                    <a:pt x="1011802" y="465811"/>
                  </a:lnTo>
                  <a:lnTo>
                    <a:pt x="1013508" y="469223"/>
                  </a:lnTo>
                  <a:lnTo>
                    <a:pt x="1022044" y="476901"/>
                  </a:lnTo>
                  <a:lnTo>
                    <a:pt x="1048501" y="494817"/>
                  </a:lnTo>
                  <a:lnTo>
                    <a:pt x="1089468" y="519557"/>
                  </a:lnTo>
                  <a:lnTo>
                    <a:pt x="1141531" y="549417"/>
                  </a:lnTo>
                  <a:lnTo>
                    <a:pt x="1203835" y="582689"/>
                  </a:lnTo>
                  <a:lnTo>
                    <a:pt x="1272967" y="617668"/>
                  </a:lnTo>
                  <a:lnTo>
                    <a:pt x="1347221" y="654353"/>
                  </a:lnTo>
                  <a:lnTo>
                    <a:pt x="1423180" y="690184"/>
                  </a:lnTo>
                  <a:lnTo>
                    <a:pt x="1510235" y="715778"/>
                  </a:lnTo>
                  <a:lnTo>
                    <a:pt x="1543522" y="725163"/>
                  </a:lnTo>
                  <a:lnTo>
                    <a:pt x="1614360" y="743931"/>
                  </a:lnTo>
                  <a:lnTo>
                    <a:pt x="1692028" y="764407"/>
                  </a:lnTo>
                  <a:lnTo>
                    <a:pt x="1785057" y="791707"/>
                  </a:lnTo>
                  <a:lnTo>
                    <a:pt x="1888329" y="823273"/>
                  </a:lnTo>
                  <a:lnTo>
                    <a:pt x="1938684" y="838629"/>
                  </a:lnTo>
                  <a:lnTo>
                    <a:pt x="1989040" y="857398"/>
                  </a:lnTo>
                  <a:lnTo>
                    <a:pt x="2036834" y="875314"/>
                  </a:lnTo>
                  <a:lnTo>
                    <a:pt x="2080362" y="894082"/>
                  </a:lnTo>
                  <a:lnTo>
                    <a:pt x="2120476" y="911146"/>
                  </a:lnTo>
                  <a:lnTo>
                    <a:pt x="2155469" y="930767"/>
                  </a:lnTo>
                  <a:lnTo>
                    <a:pt x="2174245" y="941858"/>
                  </a:lnTo>
                  <a:lnTo>
                    <a:pt x="2193022" y="953801"/>
                  </a:lnTo>
                  <a:lnTo>
                    <a:pt x="2213506" y="968305"/>
                  </a:lnTo>
                  <a:lnTo>
                    <a:pt x="2235696" y="987074"/>
                  </a:lnTo>
                  <a:lnTo>
                    <a:pt x="2257887" y="1007549"/>
                  </a:lnTo>
                  <a:lnTo>
                    <a:pt x="2281784" y="1031437"/>
                  </a:lnTo>
                  <a:lnTo>
                    <a:pt x="2304828" y="1058737"/>
                  </a:lnTo>
                  <a:lnTo>
                    <a:pt x="2328726" y="1090303"/>
                  </a:lnTo>
                  <a:lnTo>
                    <a:pt x="2352623" y="1124428"/>
                  </a:lnTo>
                  <a:lnTo>
                    <a:pt x="2378228" y="1164526"/>
                  </a:lnTo>
                  <a:lnTo>
                    <a:pt x="2402978" y="1207182"/>
                  </a:lnTo>
                  <a:lnTo>
                    <a:pt x="2428584" y="1254104"/>
                  </a:lnTo>
                  <a:lnTo>
                    <a:pt x="2454188" y="1306145"/>
                  </a:lnTo>
                  <a:lnTo>
                    <a:pt x="2478939" y="1365012"/>
                  </a:lnTo>
                  <a:lnTo>
                    <a:pt x="2504543" y="1426437"/>
                  </a:lnTo>
                  <a:lnTo>
                    <a:pt x="2528440" y="1494687"/>
                  </a:lnTo>
                  <a:lnTo>
                    <a:pt x="2540389" y="1533932"/>
                  </a:lnTo>
                  <a:lnTo>
                    <a:pt x="2554899" y="1582561"/>
                  </a:lnTo>
                  <a:lnTo>
                    <a:pt x="2589892" y="1710530"/>
                  </a:lnTo>
                  <a:lnTo>
                    <a:pt x="2629152" y="1871771"/>
                  </a:lnTo>
                  <a:lnTo>
                    <a:pt x="2675240" y="2062873"/>
                  </a:lnTo>
                  <a:lnTo>
                    <a:pt x="2723888" y="2276156"/>
                  </a:lnTo>
                  <a:lnTo>
                    <a:pt x="2775951" y="2509914"/>
                  </a:lnTo>
                  <a:lnTo>
                    <a:pt x="2886903" y="3010703"/>
                  </a:lnTo>
                  <a:lnTo>
                    <a:pt x="2997856" y="3525995"/>
                  </a:lnTo>
                  <a:lnTo>
                    <a:pt x="3101981" y="4013986"/>
                  </a:lnTo>
                  <a:lnTo>
                    <a:pt x="3193303" y="4436286"/>
                  </a:lnTo>
                  <a:lnTo>
                    <a:pt x="3241008" y="4655637"/>
                  </a:lnTo>
                  <a:lnTo>
                    <a:pt x="2513510" y="4655637"/>
                  </a:lnTo>
                  <a:lnTo>
                    <a:pt x="2485766" y="4652129"/>
                  </a:lnTo>
                  <a:lnTo>
                    <a:pt x="2471257" y="4600088"/>
                  </a:lnTo>
                  <a:lnTo>
                    <a:pt x="2454188" y="4535250"/>
                  </a:lnTo>
                  <a:lnTo>
                    <a:pt x="2412367" y="4371449"/>
                  </a:lnTo>
                  <a:lnTo>
                    <a:pt x="2367132" y="4169256"/>
                  </a:lnTo>
                  <a:lnTo>
                    <a:pt x="2315070" y="3941470"/>
                  </a:lnTo>
                  <a:lnTo>
                    <a:pt x="2261300" y="3700034"/>
                  </a:lnTo>
                  <a:lnTo>
                    <a:pt x="2207531" y="3455185"/>
                  </a:lnTo>
                  <a:lnTo>
                    <a:pt x="2156322" y="3216308"/>
                  </a:lnTo>
                  <a:lnTo>
                    <a:pt x="2111087" y="2997052"/>
                  </a:lnTo>
                  <a:lnTo>
                    <a:pt x="2094871" y="3028619"/>
                  </a:lnTo>
                  <a:lnTo>
                    <a:pt x="2076094" y="3061891"/>
                  </a:lnTo>
                  <a:lnTo>
                    <a:pt x="2066706" y="3113932"/>
                  </a:lnTo>
                  <a:lnTo>
                    <a:pt x="2053904" y="3165973"/>
                  </a:lnTo>
                  <a:lnTo>
                    <a:pt x="2014644" y="3334893"/>
                  </a:lnTo>
                  <a:lnTo>
                    <a:pt x="1968556" y="3531966"/>
                  </a:lnTo>
                  <a:lnTo>
                    <a:pt x="1922468" y="3746956"/>
                  </a:lnTo>
                  <a:lnTo>
                    <a:pt x="1877233" y="3967917"/>
                  </a:lnTo>
                  <a:lnTo>
                    <a:pt x="1834559" y="4184612"/>
                  </a:lnTo>
                  <a:lnTo>
                    <a:pt x="1796152" y="4386805"/>
                  </a:lnTo>
                  <a:lnTo>
                    <a:pt x="1766280" y="4564256"/>
                  </a:lnTo>
                  <a:lnTo>
                    <a:pt x="1755185" y="4639332"/>
                  </a:lnTo>
                  <a:lnTo>
                    <a:pt x="1752824" y="4655637"/>
                  </a:lnTo>
                  <a:lnTo>
                    <a:pt x="0" y="4655637"/>
                  </a:lnTo>
                  <a:lnTo>
                    <a:pt x="0" y="855812"/>
                  </a:lnTo>
                  <a:lnTo>
                    <a:pt x="33711" y="878726"/>
                  </a:lnTo>
                  <a:lnTo>
                    <a:pt x="76385" y="901760"/>
                  </a:lnTo>
                  <a:lnTo>
                    <a:pt x="113938" y="922236"/>
                  </a:lnTo>
                  <a:lnTo>
                    <a:pt x="148931" y="941858"/>
                  </a:lnTo>
                  <a:lnTo>
                    <a:pt x="202700" y="964892"/>
                  </a:lnTo>
                  <a:lnTo>
                    <a:pt x="224891" y="974277"/>
                  </a:lnTo>
                  <a:lnTo>
                    <a:pt x="204407" y="936739"/>
                  </a:lnTo>
                  <a:lnTo>
                    <a:pt x="185630" y="897495"/>
                  </a:lnTo>
                  <a:lnTo>
                    <a:pt x="163439" y="847160"/>
                  </a:lnTo>
                  <a:lnTo>
                    <a:pt x="152344" y="818154"/>
                  </a:lnTo>
                  <a:lnTo>
                    <a:pt x="141249" y="788294"/>
                  </a:lnTo>
                  <a:lnTo>
                    <a:pt x="131861" y="756728"/>
                  </a:lnTo>
                  <a:lnTo>
                    <a:pt x="122472" y="723456"/>
                  </a:lnTo>
                  <a:lnTo>
                    <a:pt x="113938" y="690184"/>
                  </a:lnTo>
                  <a:lnTo>
                    <a:pt x="109671" y="655206"/>
                  </a:lnTo>
                  <a:lnTo>
                    <a:pt x="104550" y="622786"/>
                  </a:lnTo>
                  <a:lnTo>
                    <a:pt x="102842" y="587808"/>
                  </a:lnTo>
                  <a:lnTo>
                    <a:pt x="104550" y="532355"/>
                  </a:lnTo>
                  <a:lnTo>
                    <a:pt x="106256" y="489698"/>
                  </a:lnTo>
                  <a:lnTo>
                    <a:pt x="111377" y="453013"/>
                  </a:lnTo>
                  <a:lnTo>
                    <a:pt x="106256" y="5972"/>
                  </a:lnTo>
                  <a:lnTo>
                    <a:pt x="128447" y="28153"/>
                  </a:lnTo>
                  <a:lnTo>
                    <a:pt x="148931" y="48629"/>
                  </a:lnTo>
                  <a:lnTo>
                    <a:pt x="169414" y="68251"/>
                  </a:lnTo>
                  <a:lnTo>
                    <a:pt x="189045" y="83607"/>
                  </a:lnTo>
                  <a:lnTo>
                    <a:pt x="224891" y="110908"/>
                  </a:lnTo>
                  <a:lnTo>
                    <a:pt x="258176" y="131382"/>
                  </a:lnTo>
                  <a:lnTo>
                    <a:pt x="288048" y="151858"/>
                  </a:lnTo>
                  <a:lnTo>
                    <a:pt x="321334" y="170627"/>
                  </a:lnTo>
                  <a:lnTo>
                    <a:pt x="354620" y="189395"/>
                  </a:lnTo>
                  <a:lnTo>
                    <a:pt x="389613" y="205605"/>
                  </a:lnTo>
                  <a:lnTo>
                    <a:pt x="425459" y="219255"/>
                  </a:lnTo>
                  <a:lnTo>
                    <a:pt x="445943" y="226080"/>
                  </a:lnTo>
                  <a:lnTo>
                    <a:pt x="465573" y="230345"/>
                  </a:lnTo>
                  <a:lnTo>
                    <a:pt x="487763" y="235464"/>
                  </a:lnTo>
                  <a:lnTo>
                    <a:pt x="509100" y="237171"/>
                  </a:lnTo>
                  <a:lnTo>
                    <a:pt x="531291" y="239730"/>
                  </a:lnTo>
                  <a:lnTo>
                    <a:pt x="556895" y="239730"/>
                  </a:lnTo>
                  <a:lnTo>
                    <a:pt x="580793" y="239730"/>
                  </a:lnTo>
                  <a:lnTo>
                    <a:pt x="602983" y="237171"/>
                  </a:lnTo>
                  <a:lnTo>
                    <a:pt x="625174" y="233759"/>
                  </a:lnTo>
                  <a:lnTo>
                    <a:pt x="645658" y="230345"/>
                  </a:lnTo>
                  <a:lnTo>
                    <a:pt x="666141" y="226080"/>
                  </a:lnTo>
                  <a:lnTo>
                    <a:pt x="684918" y="219255"/>
                  </a:lnTo>
                  <a:lnTo>
                    <a:pt x="723324" y="205605"/>
                  </a:lnTo>
                  <a:lnTo>
                    <a:pt x="757464" y="189395"/>
                  </a:lnTo>
                  <a:lnTo>
                    <a:pt x="790750" y="170627"/>
                  </a:lnTo>
                  <a:lnTo>
                    <a:pt x="824035" y="151858"/>
                  </a:lnTo>
                  <a:lnTo>
                    <a:pt x="853907" y="131382"/>
                  </a:lnTo>
                  <a:lnTo>
                    <a:pt x="887193" y="109201"/>
                  </a:lnTo>
                  <a:lnTo>
                    <a:pt x="925600" y="81901"/>
                  </a:lnTo>
                  <a:lnTo>
                    <a:pt x="946084" y="64838"/>
                  </a:lnTo>
                  <a:lnTo>
                    <a:pt x="968274" y="46069"/>
                  </a:lnTo>
                  <a:lnTo>
                    <a:pt x="988757" y="2388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Imago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61EB4FE-4B1E-4C2A-B5F0-1C35905CD0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13" b="1699"/>
            <a:stretch/>
          </p:blipFill>
          <p:spPr>
            <a:xfrm>
              <a:off x="0" y="116541"/>
              <a:ext cx="3268754" cy="6741459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A3B821C-832D-4BEF-8178-646FDCDE97A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10"/>
            <a:stretch/>
          </p:blipFill>
          <p:spPr>
            <a:xfrm>
              <a:off x="-6525" y="110265"/>
              <a:ext cx="1382437" cy="2335323"/>
            </a:xfrm>
            <a:prstGeom prst="rect">
              <a:avLst/>
            </a:prstGeom>
          </p:spPr>
        </p:pic>
        <p:pic>
          <p:nvPicPr>
            <p:cNvPr id="1042" name="Picture 1041">
              <a:extLst>
                <a:ext uri="{FF2B5EF4-FFF2-40B4-BE49-F238E27FC236}">
                  <a16:creationId xmlns:a16="http://schemas.microsoft.com/office/drawing/2014/main" id="{B5EF0CA8-A698-41E1-8828-C0F0213BE8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664" t="25887" r="21635" b="25378"/>
            <a:stretch/>
          </p:blipFill>
          <p:spPr>
            <a:xfrm>
              <a:off x="1965558" y="4645741"/>
              <a:ext cx="140595" cy="120510"/>
            </a:xfrm>
            <a:prstGeom prst="rect">
              <a:avLst/>
            </a:prstGeom>
          </p:spPr>
        </p:pic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95F8EC-9559-4794-A790-641398B15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94512" y="4512803"/>
            <a:ext cx="6291853" cy="33855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GB" sz="2200" b="1" kern="1200" dirty="0"/>
            </a:lvl1pPr>
          </a:lstStyle>
          <a:p>
            <a:pPr marL="268288" lvl="0" indent="-268288" defTabSz="914400" latinLnBrk="0"/>
            <a:r>
              <a:rPr lang="en-US" dirty="0"/>
              <a:t>Click to edit dat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E3EC419-AC1F-4CF1-B163-BE184C9AE5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4512" y="3523129"/>
            <a:ext cx="6291853" cy="366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GB" b="1" i="1" dirty="0">
                <a:solidFill>
                  <a:schemeClr val="accent1"/>
                </a:solidFill>
                <a:latin typeface="Minion" pitchFamily="18" charset="0"/>
              </a:defRPr>
            </a:lvl1pPr>
          </a:lstStyle>
          <a:p>
            <a:pPr marL="268288" lvl="0" indent="-268288">
              <a:spcBef>
                <a:spcPct val="0"/>
              </a:spcBef>
            </a:pPr>
            <a:r>
              <a:rPr lang="en-US" dirty="0"/>
              <a:t>Click to edit master subtitle style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5567967"/>
      </p:ext>
    </p:extLst>
  </p:cSld>
  <p:clrMapOvr>
    <a:masterClrMapping/>
  </p:clrMapOvr>
  <p:transition/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C549190B-5C40-46C4-BFC1-3C56C7F56A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0887" y="0"/>
            <a:ext cx="6200767" cy="6858000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CA46C693-BA69-4AC3-B2F1-43A854FD9BB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94000">
                <a:srgbClr val="E1F0FF"/>
              </a:gs>
              <a:gs pos="38000">
                <a:schemeClr val="bg1">
                  <a:alpha val="37000"/>
                </a:schemeClr>
              </a:gs>
              <a:gs pos="100000">
                <a:srgbClr val="E1F0FF">
                  <a:alpha val="72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i="1" dirty="0">
              <a:solidFill>
                <a:srgbClr val="000000"/>
              </a:solidFill>
              <a:latin typeface="Imago-Medium" pitchFamily="2" charset="0"/>
              <a:ea typeface="MS PGothic" pitchFamily="34" charset="-12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5B1666-5C46-45BA-AD2C-84B738AC98ED}"/>
              </a:ext>
            </a:extLst>
          </p:cNvPr>
          <p:cNvSpPr/>
          <p:nvPr userDrawn="1"/>
        </p:nvSpPr>
        <p:spPr bwMode="auto">
          <a:xfrm>
            <a:off x="0" y="6248400"/>
            <a:ext cx="12192000" cy="609600"/>
          </a:xfrm>
          <a:prstGeom prst="rect">
            <a:avLst/>
          </a:prstGeom>
          <a:gradFill flip="none" rotWithShape="1">
            <a:gsLst>
              <a:gs pos="31000">
                <a:schemeClr val="accent1"/>
              </a:gs>
              <a:gs pos="0">
                <a:schemeClr val="accent1"/>
              </a:gs>
              <a:gs pos="7800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i="1" dirty="0">
              <a:solidFill>
                <a:srgbClr val="000000"/>
              </a:solidFill>
              <a:latin typeface="Imago-Medium" pitchFamily="2" charset="0"/>
              <a:ea typeface="MS PGothic" pitchFamily="34" charset="-128"/>
            </a:endParaRP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E623FC64-8026-490E-999B-28E0D6331B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94512" y="2812656"/>
            <a:ext cx="6291853" cy="659076"/>
          </a:xfr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  <a:latin typeface="Imago" pitchFamily="2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97E67AA-4B56-4A11-8327-D2FA2EA6F1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94512" y="3525338"/>
            <a:ext cx="6291853" cy="369332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ct val="0"/>
              </a:spcBef>
              <a:buFont typeface="Arial" panose="020B0604020202020204" pitchFamily="34" charset="0"/>
              <a:buNone/>
              <a:defRPr sz="2400" b="1" i="1">
                <a:solidFill>
                  <a:schemeClr val="tx1"/>
                </a:solidFill>
                <a:latin typeface="Minion" pitchFamily="18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pic>
        <p:nvPicPr>
          <p:cNvPr id="24" name="Picture 2" descr="X:\Studio_Main\PRESENTATIONS\04 Logos\Roche\Roche log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72596" y="456112"/>
            <a:ext cx="840941" cy="43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247C58C-E071-4998-9051-CEC62154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71" t="13357" r="2058" b="9172"/>
          <a:stretch/>
        </p:blipFill>
        <p:spPr>
          <a:xfrm>
            <a:off x="6562168" y="4751294"/>
            <a:ext cx="4751294" cy="2195869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FB5F997-6A90-41E6-908E-0265590DB10E}"/>
              </a:ext>
            </a:extLst>
          </p:cNvPr>
          <p:cNvGrpSpPr/>
          <p:nvPr userDrawn="1"/>
        </p:nvGrpSpPr>
        <p:grpSpPr>
          <a:xfrm>
            <a:off x="-6525" y="110265"/>
            <a:ext cx="3275279" cy="6747736"/>
            <a:chOff x="-6525" y="110265"/>
            <a:chExt cx="3275279" cy="6747736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98D23EF-E737-4A27-BBF1-4FD8AB035D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87" y="2202364"/>
              <a:ext cx="3241008" cy="4655637"/>
            </a:xfrm>
            <a:custGeom>
              <a:avLst/>
              <a:gdLst>
                <a:gd name="connsiteX0" fmla="*/ 1010949 w 3241008"/>
                <a:gd name="connsiteY0" fmla="*/ 0 h 4655637"/>
                <a:gd name="connsiteX1" fmla="*/ 1009241 w 3241008"/>
                <a:gd name="connsiteY1" fmla="*/ 110908 h 4655637"/>
                <a:gd name="connsiteX2" fmla="*/ 1007534 w 3241008"/>
                <a:gd name="connsiteY2" fmla="*/ 250821 h 4655637"/>
                <a:gd name="connsiteX3" fmla="*/ 1007534 w 3241008"/>
                <a:gd name="connsiteY3" fmla="*/ 380497 h 4655637"/>
                <a:gd name="connsiteX4" fmla="*/ 1009241 w 3241008"/>
                <a:gd name="connsiteY4" fmla="*/ 431685 h 4655637"/>
                <a:gd name="connsiteX5" fmla="*/ 1011802 w 3241008"/>
                <a:gd name="connsiteY5" fmla="*/ 465811 h 4655637"/>
                <a:gd name="connsiteX6" fmla="*/ 1013508 w 3241008"/>
                <a:gd name="connsiteY6" fmla="*/ 469223 h 4655637"/>
                <a:gd name="connsiteX7" fmla="*/ 1022044 w 3241008"/>
                <a:gd name="connsiteY7" fmla="*/ 476901 h 4655637"/>
                <a:gd name="connsiteX8" fmla="*/ 1048501 w 3241008"/>
                <a:gd name="connsiteY8" fmla="*/ 494817 h 4655637"/>
                <a:gd name="connsiteX9" fmla="*/ 1089468 w 3241008"/>
                <a:gd name="connsiteY9" fmla="*/ 519557 h 4655637"/>
                <a:gd name="connsiteX10" fmla="*/ 1141531 w 3241008"/>
                <a:gd name="connsiteY10" fmla="*/ 549417 h 4655637"/>
                <a:gd name="connsiteX11" fmla="*/ 1203835 w 3241008"/>
                <a:gd name="connsiteY11" fmla="*/ 582689 h 4655637"/>
                <a:gd name="connsiteX12" fmla="*/ 1272967 w 3241008"/>
                <a:gd name="connsiteY12" fmla="*/ 617668 h 4655637"/>
                <a:gd name="connsiteX13" fmla="*/ 1347221 w 3241008"/>
                <a:gd name="connsiteY13" fmla="*/ 654353 h 4655637"/>
                <a:gd name="connsiteX14" fmla="*/ 1423180 w 3241008"/>
                <a:gd name="connsiteY14" fmla="*/ 690184 h 4655637"/>
                <a:gd name="connsiteX15" fmla="*/ 1510235 w 3241008"/>
                <a:gd name="connsiteY15" fmla="*/ 715778 h 4655637"/>
                <a:gd name="connsiteX16" fmla="*/ 1543522 w 3241008"/>
                <a:gd name="connsiteY16" fmla="*/ 725163 h 4655637"/>
                <a:gd name="connsiteX17" fmla="*/ 1614360 w 3241008"/>
                <a:gd name="connsiteY17" fmla="*/ 743931 h 4655637"/>
                <a:gd name="connsiteX18" fmla="*/ 1692028 w 3241008"/>
                <a:gd name="connsiteY18" fmla="*/ 764407 h 4655637"/>
                <a:gd name="connsiteX19" fmla="*/ 1785057 w 3241008"/>
                <a:gd name="connsiteY19" fmla="*/ 791707 h 4655637"/>
                <a:gd name="connsiteX20" fmla="*/ 1888329 w 3241008"/>
                <a:gd name="connsiteY20" fmla="*/ 823273 h 4655637"/>
                <a:gd name="connsiteX21" fmla="*/ 1938684 w 3241008"/>
                <a:gd name="connsiteY21" fmla="*/ 838629 h 4655637"/>
                <a:gd name="connsiteX22" fmla="*/ 1989040 w 3241008"/>
                <a:gd name="connsiteY22" fmla="*/ 857398 h 4655637"/>
                <a:gd name="connsiteX23" fmla="*/ 2036834 w 3241008"/>
                <a:gd name="connsiteY23" fmla="*/ 875314 h 4655637"/>
                <a:gd name="connsiteX24" fmla="*/ 2080362 w 3241008"/>
                <a:gd name="connsiteY24" fmla="*/ 894082 h 4655637"/>
                <a:gd name="connsiteX25" fmla="*/ 2120476 w 3241008"/>
                <a:gd name="connsiteY25" fmla="*/ 911146 h 4655637"/>
                <a:gd name="connsiteX26" fmla="*/ 2155469 w 3241008"/>
                <a:gd name="connsiteY26" fmla="*/ 930767 h 4655637"/>
                <a:gd name="connsiteX27" fmla="*/ 2174245 w 3241008"/>
                <a:gd name="connsiteY27" fmla="*/ 941858 h 4655637"/>
                <a:gd name="connsiteX28" fmla="*/ 2193022 w 3241008"/>
                <a:gd name="connsiteY28" fmla="*/ 953801 h 4655637"/>
                <a:gd name="connsiteX29" fmla="*/ 2213506 w 3241008"/>
                <a:gd name="connsiteY29" fmla="*/ 968305 h 4655637"/>
                <a:gd name="connsiteX30" fmla="*/ 2235696 w 3241008"/>
                <a:gd name="connsiteY30" fmla="*/ 987074 h 4655637"/>
                <a:gd name="connsiteX31" fmla="*/ 2257887 w 3241008"/>
                <a:gd name="connsiteY31" fmla="*/ 1007549 h 4655637"/>
                <a:gd name="connsiteX32" fmla="*/ 2281784 w 3241008"/>
                <a:gd name="connsiteY32" fmla="*/ 1031437 h 4655637"/>
                <a:gd name="connsiteX33" fmla="*/ 2304828 w 3241008"/>
                <a:gd name="connsiteY33" fmla="*/ 1058737 h 4655637"/>
                <a:gd name="connsiteX34" fmla="*/ 2328726 w 3241008"/>
                <a:gd name="connsiteY34" fmla="*/ 1090303 h 4655637"/>
                <a:gd name="connsiteX35" fmla="*/ 2352623 w 3241008"/>
                <a:gd name="connsiteY35" fmla="*/ 1124428 h 4655637"/>
                <a:gd name="connsiteX36" fmla="*/ 2378228 w 3241008"/>
                <a:gd name="connsiteY36" fmla="*/ 1164526 h 4655637"/>
                <a:gd name="connsiteX37" fmla="*/ 2402978 w 3241008"/>
                <a:gd name="connsiteY37" fmla="*/ 1207182 h 4655637"/>
                <a:gd name="connsiteX38" fmla="*/ 2428584 w 3241008"/>
                <a:gd name="connsiteY38" fmla="*/ 1254104 h 4655637"/>
                <a:gd name="connsiteX39" fmla="*/ 2454188 w 3241008"/>
                <a:gd name="connsiteY39" fmla="*/ 1306145 h 4655637"/>
                <a:gd name="connsiteX40" fmla="*/ 2478939 w 3241008"/>
                <a:gd name="connsiteY40" fmla="*/ 1365012 h 4655637"/>
                <a:gd name="connsiteX41" fmla="*/ 2504543 w 3241008"/>
                <a:gd name="connsiteY41" fmla="*/ 1426437 h 4655637"/>
                <a:gd name="connsiteX42" fmla="*/ 2528440 w 3241008"/>
                <a:gd name="connsiteY42" fmla="*/ 1494687 h 4655637"/>
                <a:gd name="connsiteX43" fmla="*/ 2540389 w 3241008"/>
                <a:gd name="connsiteY43" fmla="*/ 1533932 h 4655637"/>
                <a:gd name="connsiteX44" fmla="*/ 2554899 w 3241008"/>
                <a:gd name="connsiteY44" fmla="*/ 1582561 h 4655637"/>
                <a:gd name="connsiteX45" fmla="*/ 2589892 w 3241008"/>
                <a:gd name="connsiteY45" fmla="*/ 1710530 h 4655637"/>
                <a:gd name="connsiteX46" fmla="*/ 2629152 w 3241008"/>
                <a:gd name="connsiteY46" fmla="*/ 1871771 h 4655637"/>
                <a:gd name="connsiteX47" fmla="*/ 2675240 w 3241008"/>
                <a:gd name="connsiteY47" fmla="*/ 2062873 h 4655637"/>
                <a:gd name="connsiteX48" fmla="*/ 2723888 w 3241008"/>
                <a:gd name="connsiteY48" fmla="*/ 2276156 h 4655637"/>
                <a:gd name="connsiteX49" fmla="*/ 2775951 w 3241008"/>
                <a:gd name="connsiteY49" fmla="*/ 2509914 h 4655637"/>
                <a:gd name="connsiteX50" fmla="*/ 2886903 w 3241008"/>
                <a:gd name="connsiteY50" fmla="*/ 3010703 h 4655637"/>
                <a:gd name="connsiteX51" fmla="*/ 2997856 w 3241008"/>
                <a:gd name="connsiteY51" fmla="*/ 3525995 h 4655637"/>
                <a:gd name="connsiteX52" fmla="*/ 3101981 w 3241008"/>
                <a:gd name="connsiteY52" fmla="*/ 4013986 h 4655637"/>
                <a:gd name="connsiteX53" fmla="*/ 3193303 w 3241008"/>
                <a:gd name="connsiteY53" fmla="*/ 4436286 h 4655637"/>
                <a:gd name="connsiteX54" fmla="*/ 3241008 w 3241008"/>
                <a:gd name="connsiteY54" fmla="*/ 4655637 h 4655637"/>
                <a:gd name="connsiteX55" fmla="*/ 2513510 w 3241008"/>
                <a:gd name="connsiteY55" fmla="*/ 4655637 h 4655637"/>
                <a:gd name="connsiteX56" fmla="*/ 2485766 w 3241008"/>
                <a:gd name="connsiteY56" fmla="*/ 4652129 h 4655637"/>
                <a:gd name="connsiteX57" fmla="*/ 2471257 w 3241008"/>
                <a:gd name="connsiteY57" fmla="*/ 4600088 h 4655637"/>
                <a:gd name="connsiteX58" fmla="*/ 2454188 w 3241008"/>
                <a:gd name="connsiteY58" fmla="*/ 4535250 h 4655637"/>
                <a:gd name="connsiteX59" fmla="*/ 2412367 w 3241008"/>
                <a:gd name="connsiteY59" fmla="*/ 4371449 h 4655637"/>
                <a:gd name="connsiteX60" fmla="*/ 2367132 w 3241008"/>
                <a:gd name="connsiteY60" fmla="*/ 4169256 h 4655637"/>
                <a:gd name="connsiteX61" fmla="*/ 2315070 w 3241008"/>
                <a:gd name="connsiteY61" fmla="*/ 3941470 h 4655637"/>
                <a:gd name="connsiteX62" fmla="*/ 2261300 w 3241008"/>
                <a:gd name="connsiteY62" fmla="*/ 3700034 h 4655637"/>
                <a:gd name="connsiteX63" fmla="*/ 2207531 w 3241008"/>
                <a:gd name="connsiteY63" fmla="*/ 3455185 h 4655637"/>
                <a:gd name="connsiteX64" fmla="*/ 2156322 w 3241008"/>
                <a:gd name="connsiteY64" fmla="*/ 3216308 h 4655637"/>
                <a:gd name="connsiteX65" fmla="*/ 2111087 w 3241008"/>
                <a:gd name="connsiteY65" fmla="*/ 2997052 h 4655637"/>
                <a:gd name="connsiteX66" fmla="*/ 2094871 w 3241008"/>
                <a:gd name="connsiteY66" fmla="*/ 3028619 h 4655637"/>
                <a:gd name="connsiteX67" fmla="*/ 2076094 w 3241008"/>
                <a:gd name="connsiteY67" fmla="*/ 3061891 h 4655637"/>
                <a:gd name="connsiteX68" fmla="*/ 2066706 w 3241008"/>
                <a:gd name="connsiteY68" fmla="*/ 3113932 h 4655637"/>
                <a:gd name="connsiteX69" fmla="*/ 2053904 w 3241008"/>
                <a:gd name="connsiteY69" fmla="*/ 3165973 h 4655637"/>
                <a:gd name="connsiteX70" fmla="*/ 2014644 w 3241008"/>
                <a:gd name="connsiteY70" fmla="*/ 3334893 h 4655637"/>
                <a:gd name="connsiteX71" fmla="*/ 1968556 w 3241008"/>
                <a:gd name="connsiteY71" fmla="*/ 3531966 h 4655637"/>
                <a:gd name="connsiteX72" fmla="*/ 1922468 w 3241008"/>
                <a:gd name="connsiteY72" fmla="*/ 3746956 h 4655637"/>
                <a:gd name="connsiteX73" fmla="*/ 1877233 w 3241008"/>
                <a:gd name="connsiteY73" fmla="*/ 3967917 h 4655637"/>
                <a:gd name="connsiteX74" fmla="*/ 1834559 w 3241008"/>
                <a:gd name="connsiteY74" fmla="*/ 4184612 h 4655637"/>
                <a:gd name="connsiteX75" fmla="*/ 1796152 w 3241008"/>
                <a:gd name="connsiteY75" fmla="*/ 4386805 h 4655637"/>
                <a:gd name="connsiteX76" fmla="*/ 1766280 w 3241008"/>
                <a:gd name="connsiteY76" fmla="*/ 4564256 h 4655637"/>
                <a:gd name="connsiteX77" fmla="*/ 1755185 w 3241008"/>
                <a:gd name="connsiteY77" fmla="*/ 4639332 h 4655637"/>
                <a:gd name="connsiteX78" fmla="*/ 1752824 w 3241008"/>
                <a:gd name="connsiteY78" fmla="*/ 4655637 h 4655637"/>
                <a:gd name="connsiteX79" fmla="*/ 0 w 3241008"/>
                <a:gd name="connsiteY79" fmla="*/ 4655637 h 4655637"/>
                <a:gd name="connsiteX80" fmla="*/ 0 w 3241008"/>
                <a:gd name="connsiteY80" fmla="*/ 855812 h 4655637"/>
                <a:gd name="connsiteX81" fmla="*/ 33711 w 3241008"/>
                <a:gd name="connsiteY81" fmla="*/ 878726 h 4655637"/>
                <a:gd name="connsiteX82" fmla="*/ 76385 w 3241008"/>
                <a:gd name="connsiteY82" fmla="*/ 901760 h 4655637"/>
                <a:gd name="connsiteX83" fmla="*/ 113938 w 3241008"/>
                <a:gd name="connsiteY83" fmla="*/ 922236 h 4655637"/>
                <a:gd name="connsiteX84" fmla="*/ 148931 w 3241008"/>
                <a:gd name="connsiteY84" fmla="*/ 941858 h 4655637"/>
                <a:gd name="connsiteX85" fmla="*/ 202700 w 3241008"/>
                <a:gd name="connsiteY85" fmla="*/ 964892 h 4655637"/>
                <a:gd name="connsiteX86" fmla="*/ 224891 w 3241008"/>
                <a:gd name="connsiteY86" fmla="*/ 974277 h 4655637"/>
                <a:gd name="connsiteX87" fmla="*/ 204407 w 3241008"/>
                <a:gd name="connsiteY87" fmla="*/ 936739 h 4655637"/>
                <a:gd name="connsiteX88" fmla="*/ 185630 w 3241008"/>
                <a:gd name="connsiteY88" fmla="*/ 897495 h 4655637"/>
                <a:gd name="connsiteX89" fmla="*/ 163439 w 3241008"/>
                <a:gd name="connsiteY89" fmla="*/ 847160 h 4655637"/>
                <a:gd name="connsiteX90" fmla="*/ 152344 w 3241008"/>
                <a:gd name="connsiteY90" fmla="*/ 818154 h 4655637"/>
                <a:gd name="connsiteX91" fmla="*/ 141249 w 3241008"/>
                <a:gd name="connsiteY91" fmla="*/ 788294 h 4655637"/>
                <a:gd name="connsiteX92" fmla="*/ 131861 w 3241008"/>
                <a:gd name="connsiteY92" fmla="*/ 756728 h 4655637"/>
                <a:gd name="connsiteX93" fmla="*/ 122472 w 3241008"/>
                <a:gd name="connsiteY93" fmla="*/ 723456 h 4655637"/>
                <a:gd name="connsiteX94" fmla="*/ 113938 w 3241008"/>
                <a:gd name="connsiteY94" fmla="*/ 690184 h 4655637"/>
                <a:gd name="connsiteX95" fmla="*/ 109671 w 3241008"/>
                <a:gd name="connsiteY95" fmla="*/ 655206 h 4655637"/>
                <a:gd name="connsiteX96" fmla="*/ 104550 w 3241008"/>
                <a:gd name="connsiteY96" fmla="*/ 622786 h 4655637"/>
                <a:gd name="connsiteX97" fmla="*/ 102842 w 3241008"/>
                <a:gd name="connsiteY97" fmla="*/ 587808 h 4655637"/>
                <a:gd name="connsiteX98" fmla="*/ 104550 w 3241008"/>
                <a:gd name="connsiteY98" fmla="*/ 532355 h 4655637"/>
                <a:gd name="connsiteX99" fmla="*/ 106256 w 3241008"/>
                <a:gd name="connsiteY99" fmla="*/ 489698 h 4655637"/>
                <a:gd name="connsiteX100" fmla="*/ 111377 w 3241008"/>
                <a:gd name="connsiteY100" fmla="*/ 453013 h 4655637"/>
                <a:gd name="connsiteX101" fmla="*/ 106256 w 3241008"/>
                <a:gd name="connsiteY101" fmla="*/ 5972 h 4655637"/>
                <a:gd name="connsiteX102" fmla="*/ 128447 w 3241008"/>
                <a:gd name="connsiteY102" fmla="*/ 28153 h 4655637"/>
                <a:gd name="connsiteX103" fmla="*/ 148931 w 3241008"/>
                <a:gd name="connsiteY103" fmla="*/ 48629 h 4655637"/>
                <a:gd name="connsiteX104" fmla="*/ 169414 w 3241008"/>
                <a:gd name="connsiteY104" fmla="*/ 68251 h 4655637"/>
                <a:gd name="connsiteX105" fmla="*/ 189045 w 3241008"/>
                <a:gd name="connsiteY105" fmla="*/ 83607 h 4655637"/>
                <a:gd name="connsiteX106" fmla="*/ 224891 w 3241008"/>
                <a:gd name="connsiteY106" fmla="*/ 110908 h 4655637"/>
                <a:gd name="connsiteX107" fmla="*/ 258176 w 3241008"/>
                <a:gd name="connsiteY107" fmla="*/ 131382 h 4655637"/>
                <a:gd name="connsiteX108" fmla="*/ 288048 w 3241008"/>
                <a:gd name="connsiteY108" fmla="*/ 151858 h 4655637"/>
                <a:gd name="connsiteX109" fmla="*/ 321334 w 3241008"/>
                <a:gd name="connsiteY109" fmla="*/ 170627 h 4655637"/>
                <a:gd name="connsiteX110" fmla="*/ 354620 w 3241008"/>
                <a:gd name="connsiteY110" fmla="*/ 189395 h 4655637"/>
                <a:gd name="connsiteX111" fmla="*/ 389613 w 3241008"/>
                <a:gd name="connsiteY111" fmla="*/ 205605 h 4655637"/>
                <a:gd name="connsiteX112" fmla="*/ 425459 w 3241008"/>
                <a:gd name="connsiteY112" fmla="*/ 219255 h 4655637"/>
                <a:gd name="connsiteX113" fmla="*/ 445943 w 3241008"/>
                <a:gd name="connsiteY113" fmla="*/ 226080 h 4655637"/>
                <a:gd name="connsiteX114" fmla="*/ 465573 w 3241008"/>
                <a:gd name="connsiteY114" fmla="*/ 230345 h 4655637"/>
                <a:gd name="connsiteX115" fmla="*/ 487763 w 3241008"/>
                <a:gd name="connsiteY115" fmla="*/ 235464 h 4655637"/>
                <a:gd name="connsiteX116" fmla="*/ 509100 w 3241008"/>
                <a:gd name="connsiteY116" fmla="*/ 237171 h 4655637"/>
                <a:gd name="connsiteX117" fmla="*/ 531291 w 3241008"/>
                <a:gd name="connsiteY117" fmla="*/ 239730 h 4655637"/>
                <a:gd name="connsiteX118" fmla="*/ 556895 w 3241008"/>
                <a:gd name="connsiteY118" fmla="*/ 239730 h 4655637"/>
                <a:gd name="connsiteX119" fmla="*/ 580793 w 3241008"/>
                <a:gd name="connsiteY119" fmla="*/ 239730 h 4655637"/>
                <a:gd name="connsiteX120" fmla="*/ 602983 w 3241008"/>
                <a:gd name="connsiteY120" fmla="*/ 237171 h 4655637"/>
                <a:gd name="connsiteX121" fmla="*/ 625174 w 3241008"/>
                <a:gd name="connsiteY121" fmla="*/ 233759 h 4655637"/>
                <a:gd name="connsiteX122" fmla="*/ 645658 w 3241008"/>
                <a:gd name="connsiteY122" fmla="*/ 230345 h 4655637"/>
                <a:gd name="connsiteX123" fmla="*/ 666141 w 3241008"/>
                <a:gd name="connsiteY123" fmla="*/ 226080 h 4655637"/>
                <a:gd name="connsiteX124" fmla="*/ 684918 w 3241008"/>
                <a:gd name="connsiteY124" fmla="*/ 219255 h 4655637"/>
                <a:gd name="connsiteX125" fmla="*/ 723324 w 3241008"/>
                <a:gd name="connsiteY125" fmla="*/ 205605 h 4655637"/>
                <a:gd name="connsiteX126" fmla="*/ 757464 w 3241008"/>
                <a:gd name="connsiteY126" fmla="*/ 189395 h 4655637"/>
                <a:gd name="connsiteX127" fmla="*/ 790750 w 3241008"/>
                <a:gd name="connsiteY127" fmla="*/ 170627 h 4655637"/>
                <a:gd name="connsiteX128" fmla="*/ 824035 w 3241008"/>
                <a:gd name="connsiteY128" fmla="*/ 151858 h 4655637"/>
                <a:gd name="connsiteX129" fmla="*/ 853907 w 3241008"/>
                <a:gd name="connsiteY129" fmla="*/ 131382 h 4655637"/>
                <a:gd name="connsiteX130" fmla="*/ 887193 w 3241008"/>
                <a:gd name="connsiteY130" fmla="*/ 109201 h 4655637"/>
                <a:gd name="connsiteX131" fmla="*/ 925600 w 3241008"/>
                <a:gd name="connsiteY131" fmla="*/ 81901 h 4655637"/>
                <a:gd name="connsiteX132" fmla="*/ 946084 w 3241008"/>
                <a:gd name="connsiteY132" fmla="*/ 64838 h 4655637"/>
                <a:gd name="connsiteX133" fmla="*/ 968274 w 3241008"/>
                <a:gd name="connsiteY133" fmla="*/ 46069 h 4655637"/>
                <a:gd name="connsiteX134" fmla="*/ 988757 w 3241008"/>
                <a:gd name="connsiteY134" fmla="*/ 23888 h 465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3241008" h="4655637">
                  <a:moveTo>
                    <a:pt x="1010949" y="0"/>
                  </a:moveTo>
                  <a:lnTo>
                    <a:pt x="1009241" y="110908"/>
                  </a:lnTo>
                  <a:lnTo>
                    <a:pt x="1007534" y="250821"/>
                  </a:lnTo>
                  <a:lnTo>
                    <a:pt x="1007534" y="380497"/>
                  </a:lnTo>
                  <a:lnTo>
                    <a:pt x="1009241" y="431685"/>
                  </a:lnTo>
                  <a:lnTo>
                    <a:pt x="1011802" y="465811"/>
                  </a:lnTo>
                  <a:lnTo>
                    <a:pt x="1013508" y="469223"/>
                  </a:lnTo>
                  <a:lnTo>
                    <a:pt x="1022044" y="476901"/>
                  </a:lnTo>
                  <a:lnTo>
                    <a:pt x="1048501" y="494817"/>
                  </a:lnTo>
                  <a:lnTo>
                    <a:pt x="1089468" y="519557"/>
                  </a:lnTo>
                  <a:lnTo>
                    <a:pt x="1141531" y="549417"/>
                  </a:lnTo>
                  <a:lnTo>
                    <a:pt x="1203835" y="582689"/>
                  </a:lnTo>
                  <a:lnTo>
                    <a:pt x="1272967" y="617668"/>
                  </a:lnTo>
                  <a:lnTo>
                    <a:pt x="1347221" y="654353"/>
                  </a:lnTo>
                  <a:lnTo>
                    <a:pt x="1423180" y="690184"/>
                  </a:lnTo>
                  <a:lnTo>
                    <a:pt x="1510235" y="715778"/>
                  </a:lnTo>
                  <a:lnTo>
                    <a:pt x="1543522" y="725163"/>
                  </a:lnTo>
                  <a:lnTo>
                    <a:pt x="1614360" y="743931"/>
                  </a:lnTo>
                  <a:lnTo>
                    <a:pt x="1692028" y="764407"/>
                  </a:lnTo>
                  <a:lnTo>
                    <a:pt x="1785057" y="791707"/>
                  </a:lnTo>
                  <a:lnTo>
                    <a:pt x="1888329" y="823273"/>
                  </a:lnTo>
                  <a:lnTo>
                    <a:pt x="1938684" y="838629"/>
                  </a:lnTo>
                  <a:lnTo>
                    <a:pt x="1989040" y="857398"/>
                  </a:lnTo>
                  <a:lnTo>
                    <a:pt x="2036834" y="875314"/>
                  </a:lnTo>
                  <a:lnTo>
                    <a:pt x="2080362" y="894082"/>
                  </a:lnTo>
                  <a:lnTo>
                    <a:pt x="2120476" y="911146"/>
                  </a:lnTo>
                  <a:lnTo>
                    <a:pt x="2155469" y="930767"/>
                  </a:lnTo>
                  <a:lnTo>
                    <a:pt x="2174245" y="941858"/>
                  </a:lnTo>
                  <a:lnTo>
                    <a:pt x="2193022" y="953801"/>
                  </a:lnTo>
                  <a:lnTo>
                    <a:pt x="2213506" y="968305"/>
                  </a:lnTo>
                  <a:lnTo>
                    <a:pt x="2235696" y="987074"/>
                  </a:lnTo>
                  <a:lnTo>
                    <a:pt x="2257887" y="1007549"/>
                  </a:lnTo>
                  <a:lnTo>
                    <a:pt x="2281784" y="1031437"/>
                  </a:lnTo>
                  <a:lnTo>
                    <a:pt x="2304828" y="1058737"/>
                  </a:lnTo>
                  <a:lnTo>
                    <a:pt x="2328726" y="1090303"/>
                  </a:lnTo>
                  <a:lnTo>
                    <a:pt x="2352623" y="1124428"/>
                  </a:lnTo>
                  <a:lnTo>
                    <a:pt x="2378228" y="1164526"/>
                  </a:lnTo>
                  <a:lnTo>
                    <a:pt x="2402978" y="1207182"/>
                  </a:lnTo>
                  <a:lnTo>
                    <a:pt x="2428584" y="1254104"/>
                  </a:lnTo>
                  <a:lnTo>
                    <a:pt x="2454188" y="1306145"/>
                  </a:lnTo>
                  <a:lnTo>
                    <a:pt x="2478939" y="1365012"/>
                  </a:lnTo>
                  <a:lnTo>
                    <a:pt x="2504543" y="1426437"/>
                  </a:lnTo>
                  <a:lnTo>
                    <a:pt x="2528440" y="1494687"/>
                  </a:lnTo>
                  <a:lnTo>
                    <a:pt x="2540389" y="1533932"/>
                  </a:lnTo>
                  <a:lnTo>
                    <a:pt x="2554899" y="1582561"/>
                  </a:lnTo>
                  <a:lnTo>
                    <a:pt x="2589892" y="1710530"/>
                  </a:lnTo>
                  <a:lnTo>
                    <a:pt x="2629152" y="1871771"/>
                  </a:lnTo>
                  <a:lnTo>
                    <a:pt x="2675240" y="2062873"/>
                  </a:lnTo>
                  <a:lnTo>
                    <a:pt x="2723888" y="2276156"/>
                  </a:lnTo>
                  <a:lnTo>
                    <a:pt x="2775951" y="2509914"/>
                  </a:lnTo>
                  <a:lnTo>
                    <a:pt x="2886903" y="3010703"/>
                  </a:lnTo>
                  <a:lnTo>
                    <a:pt x="2997856" y="3525995"/>
                  </a:lnTo>
                  <a:lnTo>
                    <a:pt x="3101981" y="4013986"/>
                  </a:lnTo>
                  <a:lnTo>
                    <a:pt x="3193303" y="4436286"/>
                  </a:lnTo>
                  <a:lnTo>
                    <a:pt x="3241008" y="4655637"/>
                  </a:lnTo>
                  <a:lnTo>
                    <a:pt x="2513510" y="4655637"/>
                  </a:lnTo>
                  <a:lnTo>
                    <a:pt x="2485766" y="4652129"/>
                  </a:lnTo>
                  <a:lnTo>
                    <a:pt x="2471257" y="4600088"/>
                  </a:lnTo>
                  <a:lnTo>
                    <a:pt x="2454188" y="4535250"/>
                  </a:lnTo>
                  <a:lnTo>
                    <a:pt x="2412367" y="4371449"/>
                  </a:lnTo>
                  <a:lnTo>
                    <a:pt x="2367132" y="4169256"/>
                  </a:lnTo>
                  <a:lnTo>
                    <a:pt x="2315070" y="3941470"/>
                  </a:lnTo>
                  <a:lnTo>
                    <a:pt x="2261300" y="3700034"/>
                  </a:lnTo>
                  <a:lnTo>
                    <a:pt x="2207531" y="3455185"/>
                  </a:lnTo>
                  <a:lnTo>
                    <a:pt x="2156322" y="3216308"/>
                  </a:lnTo>
                  <a:lnTo>
                    <a:pt x="2111087" y="2997052"/>
                  </a:lnTo>
                  <a:lnTo>
                    <a:pt x="2094871" y="3028619"/>
                  </a:lnTo>
                  <a:lnTo>
                    <a:pt x="2076094" y="3061891"/>
                  </a:lnTo>
                  <a:lnTo>
                    <a:pt x="2066706" y="3113932"/>
                  </a:lnTo>
                  <a:lnTo>
                    <a:pt x="2053904" y="3165973"/>
                  </a:lnTo>
                  <a:lnTo>
                    <a:pt x="2014644" y="3334893"/>
                  </a:lnTo>
                  <a:lnTo>
                    <a:pt x="1968556" y="3531966"/>
                  </a:lnTo>
                  <a:lnTo>
                    <a:pt x="1922468" y="3746956"/>
                  </a:lnTo>
                  <a:lnTo>
                    <a:pt x="1877233" y="3967917"/>
                  </a:lnTo>
                  <a:lnTo>
                    <a:pt x="1834559" y="4184612"/>
                  </a:lnTo>
                  <a:lnTo>
                    <a:pt x="1796152" y="4386805"/>
                  </a:lnTo>
                  <a:lnTo>
                    <a:pt x="1766280" y="4564256"/>
                  </a:lnTo>
                  <a:lnTo>
                    <a:pt x="1755185" y="4639332"/>
                  </a:lnTo>
                  <a:lnTo>
                    <a:pt x="1752824" y="4655637"/>
                  </a:lnTo>
                  <a:lnTo>
                    <a:pt x="0" y="4655637"/>
                  </a:lnTo>
                  <a:lnTo>
                    <a:pt x="0" y="855812"/>
                  </a:lnTo>
                  <a:lnTo>
                    <a:pt x="33711" y="878726"/>
                  </a:lnTo>
                  <a:lnTo>
                    <a:pt x="76385" y="901760"/>
                  </a:lnTo>
                  <a:lnTo>
                    <a:pt x="113938" y="922236"/>
                  </a:lnTo>
                  <a:lnTo>
                    <a:pt x="148931" y="941858"/>
                  </a:lnTo>
                  <a:lnTo>
                    <a:pt x="202700" y="964892"/>
                  </a:lnTo>
                  <a:lnTo>
                    <a:pt x="224891" y="974277"/>
                  </a:lnTo>
                  <a:lnTo>
                    <a:pt x="204407" y="936739"/>
                  </a:lnTo>
                  <a:lnTo>
                    <a:pt x="185630" y="897495"/>
                  </a:lnTo>
                  <a:lnTo>
                    <a:pt x="163439" y="847160"/>
                  </a:lnTo>
                  <a:lnTo>
                    <a:pt x="152344" y="818154"/>
                  </a:lnTo>
                  <a:lnTo>
                    <a:pt x="141249" y="788294"/>
                  </a:lnTo>
                  <a:lnTo>
                    <a:pt x="131861" y="756728"/>
                  </a:lnTo>
                  <a:lnTo>
                    <a:pt x="122472" y="723456"/>
                  </a:lnTo>
                  <a:lnTo>
                    <a:pt x="113938" y="690184"/>
                  </a:lnTo>
                  <a:lnTo>
                    <a:pt x="109671" y="655206"/>
                  </a:lnTo>
                  <a:lnTo>
                    <a:pt x="104550" y="622786"/>
                  </a:lnTo>
                  <a:lnTo>
                    <a:pt x="102842" y="587808"/>
                  </a:lnTo>
                  <a:lnTo>
                    <a:pt x="104550" y="532355"/>
                  </a:lnTo>
                  <a:lnTo>
                    <a:pt x="106256" y="489698"/>
                  </a:lnTo>
                  <a:lnTo>
                    <a:pt x="111377" y="453013"/>
                  </a:lnTo>
                  <a:lnTo>
                    <a:pt x="106256" y="5972"/>
                  </a:lnTo>
                  <a:lnTo>
                    <a:pt x="128447" y="28153"/>
                  </a:lnTo>
                  <a:lnTo>
                    <a:pt x="148931" y="48629"/>
                  </a:lnTo>
                  <a:lnTo>
                    <a:pt x="169414" y="68251"/>
                  </a:lnTo>
                  <a:lnTo>
                    <a:pt x="189045" y="83607"/>
                  </a:lnTo>
                  <a:lnTo>
                    <a:pt x="224891" y="110908"/>
                  </a:lnTo>
                  <a:lnTo>
                    <a:pt x="258176" y="131382"/>
                  </a:lnTo>
                  <a:lnTo>
                    <a:pt x="288048" y="151858"/>
                  </a:lnTo>
                  <a:lnTo>
                    <a:pt x="321334" y="170627"/>
                  </a:lnTo>
                  <a:lnTo>
                    <a:pt x="354620" y="189395"/>
                  </a:lnTo>
                  <a:lnTo>
                    <a:pt x="389613" y="205605"/>
                  </a:lnTo>
                  <a:lnTo>
                    <a:pt x="425459" y="219255"/>
                  </a:lnTo>
                  <a:lnTo>
                    <a:pt x="445943" y="226080"/>
                  </a:lnTo>
                  <a:lnTo>
                    <a:pt x="465573" y="230345"/>
                  </a:lnTo>
                  <a:lnTo>
                    <a:pt x="487763" y="235464"/>
                  </a:lnTo>
                  <a:lnTo>
                    <a:pt x="509100" y="237171"/>
                  </a:lnTo>
                  <a:lnTo>
                    <a:pt x="531291" y="239730"/>
                  </a:lnTo>
                  <a:lnTo>
                    <a:pt x="556895" y="239730"/>
                  </a:lnTo>
                  <a:lnTo>
                    <a:pt x="580793" y="239730"/>
                  </a:lnTo>
                  <a:lnTo>
                    <a:pt x="602983" y="237171"/>
                  </a:lnTo>
                  <a:lnTo>
                    <a:pt x="625174" y="233759"/>
                  </a:lnTo>
                  <a:lnTo>
                    <a:pt x="645658" y="230345"/>
                  </a:lnTo>
                  <a:lnTo>
                    <a:pt x="666141" y="226080"/>
                  </a:lnTo>
                  <a:lnTo>
                    <a:pt x="684918" y="219255"/>
                  </a:lnTo>
                  <a:lnTo>
                    <a:pt x="723324" y="205605"/>
                  </a:lnTo>
                  <a:lnTo>
                    <a:pt x="757464" y="189395"/>
                  </a:lnTo>
                  <a:lnTo>
                    <a:pt x="790750" y="170627"/>
                  </a:lnTo>
                  <a:lnTo>
                    <a:pt x="824035" y="151858"/>
                  </a:lnTo>
                  <a:lnTo>
                    <a:pt x="853907" y="131382"/>
                  </a:lnTo>
                  <a:lnTo>
                    <a:pt x="887193" y="109201"/>
                  </a:lnTo>
                  <a:lnTo>
                    <a:pt x="925600" y="81901"/>
                  </a:lnTo>
                  <a:lnTo>
                    <a:pt x="946084" y="64838"/>
                  </a:lnTo>
                  <a:lnTo>
                    <a:pt x="968274" y="46069"/>
                  </a:lnTo>
                  <a:lnTo>
                    <a:pt x="988757" y="2388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Imago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0B51E09C-375A-4682-A405-54295C441E8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13" b="1699"/>
            <a:stretch/>
          </p:blipFill>
          <p:spPr>
            <a:xfrm>
              <a:off x="0" y="116541"/>
              <a:ext cx="3268754" cy="6741459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7CC3F65-CF8B-4221-BA42-5CE0F44DC6F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10"/>
            <a:stretch/>
          </p:blipFill>
          <p:spPr>
            <a:xfrm>
              <a:off x="-6525" y="110265"/>
              <a:ext cx="1382437" cy="2335323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3568A6EC-DF2E-4A19-81E5-C089E91FD41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664" t="25887" r="21635" b="25378"/>
            <a:stretch/>
          </p:blipFill>
          <p:spPr>
            <a:xfrm>
              <a:off x="1965558" y="4645741"/>
              <a:ext cx="140595" cy="1205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2043707"/>
      </p:ext>
    </p:extLst>
  </p:cSld>
  <p:clrMapOvr>
    <a:masterClrMapping/>
  </p:clrMapOvr>
  <p:transition/>
  <p:hf hdr="0" dt="0"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(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4717" y="6643306"/>
            <a:ext cx="1141338" cy="138499"/>
          </a:xfrm>
        </p:spPr>
        <p:txBody>
          <a:bodyPr wrap="none" lIns="0" tIns="0" rIns="0" bIns="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000"/>
            </a:lvl1pPr>
          </a:lstStyle>
          <a:p>
            <a:pPr lvl="0"/>
            <a:r>
              <a:rPr lang="en-US" dirty="0"/>
              <a:t>Click to edit Footnot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300840" y="6643306"/>
            <a:ext cx="1304844" cy="138499"/>
          </a:xfrm>
        </p:spPr>
        <p:txBody>
          <a:bodyPr wrap="none" lIns="0" tIns="0" rIns="0" bIns="0" anchor="b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1000" baseline="0"/>
            </a:lvl1pPr>
          </a:lstStyle>
          <a:p>
            <a:pPr lvl="0"/>
            <a:r>
              <a:rPr lang="en-US" dirty="0"/>
              <a:t>Click to edit source not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731B572-A6BB-4ECD-AAF6-620BB46D79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1601" y="1550988"/>
            <a:ext cx="11137693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6" name="Picture 2" descr="X:\Studio_Main\PRESENTATIONS\04 Logos\Roche\Roche 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185213" y="188640"/>
            <a:ext cx="840941" cy="43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7610978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+F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55599" y="242906"/>
            <a:ext cx="11412780" cy="553999"/>
          </a:xfrm>
        </p:spPr>
        <p:txBody>
          <a:bodyPr anchor="b">
            <a:noAutofit/>
          </a:bodyPr>
          <a:lstStyle>
            <a:lvl1pPr>
              <a:defRPr sz="320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D83D96-D520-43E8-9FE3-99F474E31BD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5B49EF-5E87-4C50-B4A7-2764078B8C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601" y="6377213"/>
            <a:ext cx="9520865" cy="451404"/>
          </a:xfr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933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Click to edit FN</a:t>
            </a:r>
          </a:p>
        </p:txBody>
      </p:sp>
    </p:spTree>
    <p:extLst>
      <p:ext uri="{BB962C8B-B14F-4D97-AF65-F5344CB8AC3E}">
        <p14:creationId xmlns:p14="http://schemas.microsoft.com/office/powerpoint/2010/main" val="16239230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1601" y="1550988"/>
            <a:ext cx="11137693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027183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69899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1"/>
          </p:nvPr>
        </p:nvSpPr>
        <p:spPr>
          <a:xfrm>
            <a:off x="6206844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4717" y="6643306"/>
            <a:ext cx="1141338" cy="138499"/>
          </a:xfrm>
        </p:spPr>
        <p:txBody>
          <a:bodyPr wrap="none" lIns="0" tIns="0" rIns="0" bIns="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000"/>
            </a:lvl1pPr>
          </a:lstStyle>
          <a:p>
            <a:pPr lvl="0"/>
            <a:r>
              <a:rPr lang="en-US" dirty="0"/>
              <a:t>Click to edit Footno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300840" y="6643306"/>
            <a:ext cx="1304844" cy="138499"/>
          </a:xfrm>
        </p:spPr>
        <p:txBody>
          <a:bodyPr wrap="none" lIns="0" tIns="0" rIns="0" bIns="0" anchor="b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1000" baseline="0"/>
            </a:lvl1pPr>
          </a:lstStyle>
          <a:p>
            <a:pPr lvl="0"/>
            <a:r>
              <a:rPr lang="en-US" dirty="0"/>
              <a:t>Click to edit source note</a:t>
            </a:r>
          </a:p>
        </p:txBody>
      </p:sp>
    </p:spTree>
    <p:extLst>
      <p:ext uri="{BB962C8B-B14F-4D97-AF65-F5344CB8AC3E}">
        <p14:creationId xmlns:p14="http://schemas.microsoft.com/office/powerpoint/2010/main" val="205666608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69899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1"/>
          </p:nvPr>
        </p:nvSpPr>
        <p:spPr>
          <a:xfrm>
            <a:off x="6206844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5177990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(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4717" y="6643306"/>
            <a:ext cx="1141338" cy="138499"/>
          </a:xfrm>
        </p:spPr>
        <p:txBody>
          <a:bodyPr wrap="none" lIns="0" tIns="0" rIns="0" bIns="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000"/>
            </a:lvl1pPr>
          </a:lstStyle>
          <a:p>
            <a:pPr lvl="0"/>
            <a:r>
              <a:rPr lang="en-US" dirty="0"/>
              <a:t>Click to edit Footnot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300840" y="6643306"/>
            <a:ext cx="1304844" cy="138499"/>
          </a:xfrm>
        </p:spPr>
        <p:txBody>
          <a:bodyPr wrap="none" lIns="0" tIns="0" rIns="0" bIns="0" anchor="b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1000" baseline="0"/>
            </a:lvl1pPr>
          </a:lstStyle>
          <a:p>
            <a:pPr lvl="0"/>
            <a:r>
              <a:rPr lang="en-US" dirty="0"/>
              <a:t>Click to edit source not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BBCDF90-E0E5-428B-8795-E7DC42497A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9899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6209051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FDAB729-4753-481C-B6D7-87FECDF2AB8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9899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231740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ntent (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4717" y="6643306"/>
            <a:ext cx="1141338" cy="138499"/>
          </a:xfrm>
        </p:spPr>
        <p:txBody>
          <a:bodyPr wrap="none" lIns="0" tIns="0" rIns="0" bIns="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000"/>
            </a:lvl1pPr>
          </a:lstStyle>
          <a:p>
            <a:pPr lvl="0"/>
            <a:r>
              <a:rPr lang="en-US" dirty="0"/>
              <a:t>Click to edit Footnot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300840" y="6643306"/>
            <a:ext cx="1304844" cy="138499"/>
          </a:xfrm>
        </p:spPr>
        <p:txBody>
          <a:bodyPr wrap="none" lIns="0" tIns="0" rIns="0" bIns="0" anchor="b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1000" baseline="0"/>
            </a:lvl1pPr>
          </a:lstStyle>
          <a:p>
            <a:pPr lvl="0"/>
            <a:r>
              <a:rPr lang="en-US" dirty="0"/>
              <a:t>Click to edit source not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4AE6976F-D174-4D06-8EDC-B027C904B6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06844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8953343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79313F7B-2FCB-4874-8D96-AE7357652C8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06844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1971620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4717" y="6643306"/>
            <a:ext cx="1141338" cy="138499"/>
          </a:xfrm>
        </p:spPr>
        <p:txBody>
          <a:bodyPr wrap="none" lIns="0" tIns="0" rIns="0" bIns="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000"/>
            </a:lvl1pPr>
          </a:lstStyle>
          <a:p>
            <a:pPr lvl="0"/>
            <a:r>
              <a:rPr lang="en-US" dirty="0"/>
              <a:t>Click to edit Footnot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300840" y="6643306"/>
            <a:ext cx="1304844" cy="138499"/>
          </a:xfrm>
        </p:spPr>
        <p:txBody>
          <a:bodyPr wrap="none" lIns="0" tIns="0" rIns="0" bIns="0" anchor="b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1000" baseline="0"/>
            </a:lvl1pPr>
          </a:lstStyle>
          <a:p>
            <a:pPr lvl="0"/>
            <a:r>
              <a:rPr lang="en-US" dirty="0"/>
              <a:t>Click to edit source note</a:t>
            </a:r>
          </a:p>
        </p:txBody>
      </p:sp>
    </p:spTree>
    <p:extLst>
      <p:ext uri="{BB962C8B-B14F-4D97-AF65-F5344CB8AC3E}">
        <p14:creationId xmlns:p14="http://schemas.microsoft.com/office/powerpoint/2010/main" val="172513643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5798972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439387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ázek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18"/>
          <a:stretch/>
        </p:blipFill>
        <p:spPr>
          <a:xfrm>
            <a:off x="-3000" y="1028733"/>
            <a:ext cx="12192000" cy="5829267"/>
          </a:xfrm>
          <a:prstGeom prst="rect">
            <a:avLst/>
          </a:prstGeom>
        </p:spPr>
      </p:pic>
      <p:grpSp>
        <p:nvGrpSpPr>
          <p:cNvPr id="14" name="Skupina 13"/>
          <p:cNvGrpSpPr/>
          <p:nvPr userDrawn="1"/>
        </p:nvGrpSpPr>
        <p:grpSpPr>
          <a:xfrm>
            <a:off x="8106063" y="4869161"/>
            <a:ext cx="3816864" cy="1927649"/>
            <a:chOff x="226540" y="2038867"/>
            <a:chExt cx="8483313" cy="4295689"/>
          </a:xfrm>
        </p:grpSpPr>
        <p:pic>
          <p:nvPicPr>
            <p:cNvPr id="15" name="Obrázek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540" y="2038867"/>
              <a:ext cx="4011538" cy="4295689"/>
            </a:xfrm>
            <a:prstGeom prst="rect">
              <a:avLst/>
            </a:prstGeom>
          </p:spPr>
        </p:pic>
        <p:pic>
          <p:nvPicPr>
            <p:cNvPr id="16" name="Obrázek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4577" y="3412435"/>
              <a:ext cx="4385276" cy="1548551"/>
            </a:xfrm>
            <a:prstGeom prst="rect">
              <a:avLst/>
            </a:prstGeom>
          </p:spPr>
        </p:pic>
      </p:grpSp>
      <p:grpSp>
        <p:nvGrpSpPr>
          <p:cNvPr id="94270" name="shpGridNormal" hidden="1"/>
          <p:cNvGrpSpPr>
            <a:grpSpLocks/>
          </p:cNvGrpSpPr>
          <p:nvPr userDrawn="1"/>
        </p:nvGrpSpPr>
        <p:grpSpPr bwMode="auto">
          <a:xfrm>
            <a:off x="529494" y="514350"/>
            <a:ext cx="11138876" cy="5764213"/>
            <a:chOff x="271" y="324"/>
            <a:chExt cx="5701" cy="3631"/>
          </a:xfrm>
        </p:grpSpPr>
        <p:sp>
          <p:nvSpPr>
            <p:cNvPr id="94266" name="shpGridTitle" hidden="1"/>
            <p:cNvSpPr>
              <a:spLocks noChangeArrowheads="1"/>
            </p:cNvSpPr>
            <p:nvPr userDrawn="1"/>
          </p:nvSpPr>
          <p:spPr bwMode="auto">
            <a:xfrm>
              <a:off x="271" y="324"/>
              <a:ext cx="5701" cy="771"/>
            </a:xfrm>
            <a:prstGeom prst="rect">
              <a:avLst/>
            </a:prstGeom>
            <a:noFill/>
            <a:ln w="12700">
              <a:solidFill>
                <a:srgbClr val="676767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fr-CH" sz="2400"/>
            </a:p>
          </p:txBody>
        </p:sp>
        <p:sp>
          <p:nvSpPr>
            <p:cNvPr id="94268" name="shpGridMain" hidden="1"/>
            <p:cNvSpPr>
              <a:spLocks noChangeArrowheads="1"/>
            </p:cNvSpPr>
            <p:nvPr userDrawn="1"/>
          </p:nvSpPr>
          <p:spPr bwMode="auto">
            <a:xfrm>
              <a:off x="271" y="1179"/>
              <a:ext cx="5701" cy="2776"/>
            </a:xfrm>
            <a:prstGeom prst="rect">
              <a:avLst/>
            </a:prstGeom>
            <a:noFill/>
            <a:ln w="12700">
              <a:solidFill>
                <a:srgbClr val="676767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fr-CH" sz="2400"/>
            </a:p>
          </p:txBody>
        </p:sp>
      </p:grpSp>
      <p:sp>
        <p:nvSpPr>
          <p:cNvPr id="94230" name="shpPlaceholderTitle"/>
          <p:cNvSpPr>
            <a:spLocks noGrp="1" noChangeArrowheads="1"/>
          </p:cNvSpPr>
          <p:nvPr>
            <p:ph type="ctrTitle"/>
          </p:nvPr>
        </p:nvSpPr>
        <p:spPr>
          <a:xfrm>
            <a:off x="511908" y="2601913"/>
            <a:ext cx="11168184" cy="1008062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fr-CH" noProof="0" smtClean="0"/>
              <a:t>Click to edit Master title style</a:t>
            </a:r>
          </a:p>
        </p:txBody>
      </p:sp>
      <p:sp>
        <p:nvSpPr>
          <p:cNvPr id="94231" name="shpPlaceholderMain"/>
          <p:cNvSpPr>
            <a:spLocks noGrp="1" noChangeArrowheads="1"/>
          </p:cNvSpPr>
          <p:nvPr>
            <p:ph type="subTitle" idx="1"/>
          </p:nvPr>
        </p:nvSpPr>
        <p:spPr>
          <a:xfrm>
            <a:off x="531447" y="3644902"/>
            <a:ext cx="11148647" cy="576263"/>
          </a:xfrm>
        </p:spPr>
        <p:txBody>
          <a:bodyPr/>
          <a:lstStyle>
            <a:lvl1pPr marL="0" indent="0">
              <a:buFontTx/>
              <a:buNone/>
              <a:defRPr sz="3300" b="1" i="1">
                <a:latin typeface="Minion" pitchFamily="2" charset="0"/>
              </a:defRPr>
            </a:lvl1pPr>
          </a:lstStyle>
          <a:p>
            <a:pPr lvl="0"/>
            <a:r>
              <a:rPr lang="fr-CH" noProof="0" smtClean="0"/>
              <a:t>Click to edit Master subtitle style</a:t>
            </a:r>
          </a:p>
        </p:txBody>
      </p:sp>
      <p:sp>
        <p:nvSpPr>
          <p:cNvPr id="94263" name="shpLogoBackground"/>
          <p:cNvSpPr>
            <a:spLocks noChangeArrowheads="1"/>
          </p:cNvSpPr>
          <p:nvPr userDrawn="1"/>
        </p:nvSpPr>
        <p:spPr bwMode="white">
          <a:xfrm>
            <a:off x="10661650" y="115888"/>
            <a:ext cx="1416537" cy="8651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CH"/>
          </a:p>
        </p:txBody>
      </p:sp>
      <p:pic>
        <p:nvPicPr>
          <p:cNvPr id="4" name="shpLogoPicDark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57560" y="180340"/>
            <a:ext cx="979170" cy="655320"/>
          </a:xfrm>
          <a:prstGeom prst="rect">
            <a:avLst/>
          </a:prstGeom>
        </p:spPr>
      </p:pic>
      <p:sp>
        <p:nvSpPr>
          <p:cNvPr id="17" name="Obdélník 16"/>
          <p:cNvSpPr/>
          <p:nvPr userDrawn="1"/>
        </p:nvSpPr>
        <p:spPr>
          <a:xfrm>
            <a:off x="11382163" y="6673334"/>
            <a:ext cx="809837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" dirty="0" smtClean="0"/>
              <a:t>CZ/TCN/0219/0010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523500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82AC649-DDFB-4B58-815A-4D39E1428B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865" y="6286500"/>
            <a:ext cx="7921625" cy="3175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1pPr>
          </a:lstStyle>
          <a:p>
            <a:pPr lvl="0"/>
            <a:r>
              <a:rPr lang="en-US" dirty="0"/>
              <a:t>Foo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226952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C32AB4-61FB-4062-9E20-33DD6EC647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771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47" y="4406902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47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4649DD-8E2B-4957-9020-F806BA43D3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585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45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42" Type="http://schemas.openxmlformats.org/officeDocument/2006/relationships/image" Target="../media/image5.wmf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40" Type="http://schemas.openxmlformats.org/officeDocument/2006/relationships/slideLayout" Target="../slideLayouts/slideLayout46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image" Target="../media/image10.jpg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image" Target="../media/image13.png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38426476"/>
              </p:ext>
            </p:extLst>
          </p:nvPr>
        </p:nvGraphicFramePr>
        <p:xfrm>
          <a:off x="2118" y="2116"/>
          <a:ext cx="2116" cy="21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1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6"/>
                        <a:ext cx="2116" cy="21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43356F1-E516-454A-A1E9-D005682D4F4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64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571" y="206731"/>
            <a:ext cx="11349328" cy="691765"/>
          </a:xfrm>
          <a:prstGeom prst="rect">
            <a:avLst/>
          </a:prstGeom>
        </p:spPr>
        <p:txBody>
          <a:bodyPr vert="horz" lIns="0" tIns="91416" rIns="91416" bIns="91416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572" y="1723491"/>
            <a:ext cx="11349329" cy="4151171"/>
          </a:xfrm>
          <a:prstGeom prst="rect">
            <a:avLst/>
          </a:prstGeom>
        </p:spPr>
        <p:txBody>
          <a:bodyPr vert="horz" lIns="0" tIns="0" rIns="91416" bIns="45708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23571" y="6309437"/>
            <a:ext cx="4471427" cy="307204"/>
          </a:xfrm>
          <a:prstGeom prst="rect">
            <a:avLst/>
          </a:prstGeom>
        </p:spPr>
        <p:txBody>
          <a:bodyPr vert="horz" lIns="0" tIns="45708" rIns="91416" bIns="0" rtlCol="0" anchor="b"/>
          <a:lstStyle>
            <a:lvl1pPr algn="l">
              <a:defRPr sz="1066">
                <a:solidFill>
                  <a:schemeClr val="accent4"/>
                </a:solidFill>
              </a:defRPr>
            </a:lvl1pPr>
          </a:lstStyle>
          <a:p>
            <a:r>
              <a:rPr lang="en-GB" dirty="0"/>
              <a:t>TECENTRIQ Winning Model - Confidential and for internal use only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020541" y="349548"/>
            <a:ext cx="781992" cy="406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6"/>
          <p:cNvSpPr txBox="1">
            <a:spLocks/>
          </p:cNvSpPr>
          <p:nvPr userDrawn="1"/>
        </p:nvSpPr>
        <p:spPr>
          <a:xfrm>
            <a:off x="11896330" y="6309437"/>
            <a:ext cx="295671" cy="307204"/>
          </a:xfrm>
          <a:prstGeom prst="rect">
            <a:avLst/>
          </a:prstGeom>
        </p:spPr>
        <p:txBody>
          <a:bodyPr vert="horz" lIns="0" tIns="60888" rIns="121775" bIns="0" rtlCol="0" anchor="b"/>
          <a:lstStyle>
            <a:defPPr>
              <a:defRPr lang="en-US"/>
            </a:defPPr>
            <a:lvl1pPr marL="0" algn="l" defTabSz="914156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078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56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34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12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90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68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46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624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532B02D-BC96-4D27-AAB5-78FDB6AE53B2}" type="slidenum">
              <a:rPr lang="en-US" sz="1066" smtClean="0"/>
              <a:pPr algn="ctr"/>
              <a:t>‹#›</a:t>
            </a:fld>
            <a:endParaRPr lang="en-US" sz="1066" dirty="0"/>
          </a:p>
        </p:txBody>
      </p:sp>
    </p:spTree>
    <p:extLst>
      <p:ext uri="{BB962C8B-B14F-4D97-AF65-F5344CB8AC3E}">
        <p14:creationId xmlns:p14="http://schemas.microsoft.com/office/powerpoint/2010/main" val="3031928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927" r:id="rId3"/>
    <p:sldLayoutId id="2147483877" r:id="rId4"/>
    <p:sldLayoutId id="2147483928" r:id="rId5"/>
    <p:sldLayoutId id="2147483929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217747" rtl="0" eaLnBrk="1" latinLnBrk="0" hangingPunct="1">
        <a:lnSpc>
          <a:spcPct val="90000"/>
        </a:lnSpc>
        <a:spcBef>
          <a:spcPct val="0"/>
        </a:spcBef>
        <a:buNone/>
        <a:defRPr sz="2664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7747" rtl="0" eaLnBrk="1" latinLnBrk="0" hangingPunct="1">
        <a:spcBef>
          <a:spcPts val="1332"/>
        </a:spcBef>
        <a:spcAft>
          <a:spcPts val="533"/>
        </a:spcAft>
        <a:buFontTx/>
        <a:buNone/>
        <a:defRPr sz="2131" b="1" i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19871" indent="-219871" algn="l" defTabSz="1217747" rtl="0" eaLnBrk="1" latinLnBrk="0" hangingPunct="1">
        <a:lnSpc>
          <a:spcPct val="90000"/>
        </a:lnSpc>
        <a:spcBef>
          <a:spcPts val="799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•"/>
        <a:tabLst/>
        <a:defRPr sz="2131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2pPr>
      <a:lvl3pPr marL="511622" indent="-272725" algn="l" defTabSz="1217747" rtl="0" eaLnBrk="1" latinLnBrk="0" hangingPunct="1">
        <a:lnSpc>
          <a:spcPct val="90000"/>
        </a:lnSpc>
        <a:spcBef>
          <a:spcPts val="0"/>
        </a:spcBef>
        <a:spcAft>
          <a:spcPts val="666"/>
        </a:spcAft>
        <a:buClr>
          <a:schemeClr val="accent2"/>
        </a:buClr>
        <a:buFont typeface="Arial" pitchFamily="34" charset="0"/>
        <a:buChar char="–"/>
        <a:defRPr sz="1865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684983" indent="-158561" algn="l" defTabSz="1217747" rtl="0" eaLnBrk="1" latinLnBrk="0" hangingPunct="1">
        <a:lnSpc>
          <a:spcPct val="90000"/>
        </a:lnSpc>
        <a:spcBef>
          <a:spcPts val="0"/>
        </a:spcBef>
        <a:spcAft>
          <a:spcPts val="666"/>
        </a:spcAft>
        <a:buClr>
          <a:schemeClr val="accent2"/>
        </a:buClr>
        <a:buSzPct val="85000"/>
        <a:buFont typeface="Arial" pitchFamily="34" charset="0"/>
        <a:buChar char="•"/>
        <a:defRPr sz="1599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913310" indent="-211415" algn="l" defTabSz="1217747" rtl="0" eaLnBrk="1" latinLnBrk="0" hangingPunct="1">
        <a:lnSpc>
          <a:spcPct val="90000"/>
        </a:lnSpc>
        <a:spcBef>
          <a:spcPts val="0"/>
        </a:spcBef>
        <a:spcAft>
          <a:spcPts val="666"/>
        </a:spcAft>
        <a:buClr>
          <a:schemeClr val="accent2"/>
        </a:buClr>
        <a:buFont typeface="Arial" pitchFamily="34" charset="0"/>
        <a:buChar char="–"/>
        <a:tabLst/>
        <a:defRPr sz="1599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1065528" indent="-152219" algn="l" defTabSz="1217747" rtl="0" eaLnBrk="1" latinLnBrk="0" hangingPunct="1">
        <a:lnSpc>
          <a:spcPct val="90000"/>
        </a:lnSpc>
        <a:spcBef>
          <a:spcPts val="0"/>
        </a:spcBef>
        <a:spcAft>
          <a:spcPts val="666"/>
        </a:spcAft>
        <a:buClr>
          <a:schemeClr val="accent2"/>
        </a:buClr>
        <a:buSzPct val="85000"/>
        <a:buFont typeface="Arial" pitchFamily="34" charset="0"/>
        <a:buChar char="•"/>
        <a:defRPr sz="1599" kern="1200" baseline="0">
          <a:solidFill>
            <a:schemeClr val="tx2"/>
          </a:solidFill>
          <a:latin typeface="Arial" pitchFamily="34" charset="0"/>
          <a:ea typeface="+mn-ea"/>
          <a:cs typeface="+mn-cs"/>
        </a:defRPr>
      </a:lvl6pPr>
      <a:lvl7pPr marL="3957678" indent="-304437" algn="l" defTabSz="1217747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7pPr>
      <a:lvl8pPr marL="4566552" indent="-304437" algn="l" defTabSz="1217747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8pPr>
      <a:lvl9pPr marL="5175426" indent="-304437" algn="l" defTabSz="1217747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8874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7747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6621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5494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4368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3242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2115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0989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48">
          <p15:clr>
            <a:srgbClr val="F26B43"/>
          </p15:clr>
        </p15:guide>
        <p15:guide id="3" orient="horz" pos="4234">
          <p15:clr>
            <a:srgbClr val="F26B43"/>
          </p15:clr>
        </p15:guide>
        <p15:guide id="6" pos="840">
          <p15:clr>
            <a:srgbClr val="F26B43"/>
          </p15:clr>
        </p15:guide>
        <p15:guide id="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5" name="shpPlaceholderTitle"/>
          <p:cNvSpPr>
            <a:spLocks noGrp="1" noChangeArrowheads="1"/>
          </p:cNvSpPr>
          <p:nvPr>
            <p:ph type="title"/>
          </p:nvPr>
        </p:nvSpPr>
        <p:spPr bwMode="auto">
          <a:xfrm>
            <a:off x="517771" y="452439"/>
            <a:ext cx="9817100" cy="1309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038" name="shpPlaceholderMain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9494" y="1806575"/>
            <a:ext cx="11138876" cy="4471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41000" name="shpGridNormal" hidden="1"/>
          <p:cNvGrpSpPr>
            <a:grpSpLocks/>
          </p:cNvGrpSpPr>
          <p:nvPr/>
        </p:nvGrpSpPr>
        <p:grpSpPr bwMode="auto">
          <a:xfrm>
            <a:off x="529494" y="514350"/>
            <a:ext cx="11138876" cy="6005513"/>
            <a:chOff x="271" y="324"/>
            <a:chExt cx="5701" cy="3783"/>
          </a:xfrm>
        </p:grpSpPr>
        <p:sp>
          <p:nvSpPr>
            <p:cNvPr id="40993" name="shpGridTitle" hidden="1"/>
            <p:cNvSpPr>
              <a:spLocks noChangeArrowheads="1"/>
            </p:cNvSpPr>
            <p:nvPr userDrawn="1"/>
          </p:nvSpPr>
          <p:spPr bwMode="auto">
            <a:xfrm>
              <a:off x="271" y="324"/>
              <a:ext cx="5701" cy="771"/>
            </a:xfrm>
            <a:prstGeom prst="rect">
              <a:avLst/>
            </a:prstGeom>
            <a:noFill/>
            <a:ln w="12700">
              <a:solidFill>
                <a:srgbClr val="676767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sz="2400" dirty="0"/>
            </a:p>
          </p:txBody>
        </p:sp>
        <p:sp>
          <p:nvSpPr>
            <p:cNvPr id="40994" name="shpGridMain" hidden="1"/>
            <p:cNvSpPr>
              <a:spLocks noChangeArrowheads="1"/>
            </p:cNvSpPr>
            <p:nvPr userDrawn="1"/>
          </p:nvSpPr>
          <p:spPr bwMode="auto">
            <a:xfrm>
              <a:off x="271" y="1179"/>
              <a:ext cx="5701" cy="2776"/>
            </a:xfrm>
            <a:prstGeom prst="rect">
              <a:avLst/>
            </a:prstGeom>
            <a:noFill/>
            <a:ln w="12700">
              <a:solidFill>
                <a:srgbClr val="676767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sz="2400" dirty="0"/>
            </a:p>
          </p:txBody>
        </p:sp>
        <p:sp>
          <p:nvSpPr>
            <p:cNvPr id="40998" name="shpGridFooter" hidden="1"/>
            <p:cNvSpPr>
              <a:spLocks noChangeArrowheads="1"/>
            </p:cNvSpPr>
            <p:nvPr userDrawn="1"/>
          </p:nvSpPr>
          <p:spPr bwMode="auto">
            <a:xfrm>
              <a:off x="271" y="4005"/>
              <a:ext cx="5701" cy="102"/>
            </a:xfrm>
            <a:prstGeom prst="rect">
              <a:avLst/>
            </a:prstGeom>
            <a:noFill/>
            <a:ln w="12700">
              <a:solidFill>
                <a:srgbClr val="676767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sz="2400" dirty="0"/>
            </a:p>
          </p:txBody>
        </p:sp>
      </p:grpSp>
      <p:sp>
        <p:nvSpPr>
          <p:cNvPr id="14" name="shpLogoBackground"/>
          <p:cNvSpPr>
            <a:spLocks noChangeArrowheads="1"/>
          </p:cNvSpPr>
          <p:nvPr/>
        </p:nvSpPr>
        <p:spPr bwMode="white">
          <a:xfrm>
            <a:off x="10661650" y="115888"/>
            <a:ext cx="1416539" cy="8651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 dirty="0"/>
          </a:p>
        </p:txBody>
      </p:sp>
      <p:pic>
        <p:nvPicPr>
          <p:cNvPr id="4" name="shpLogoPicDark"/>
          <p:cNvPicPr>
            <a:picLocks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57560" y="180340"/>
            <a:ext cx="979170" cy="655320"/>
          </a:xfrm>
          <a:prstGeom prst="rect">
            <a:avLst/>
          </a:prstGeom>
        </p:spPr>
      </p:pic>
      <p:sp>
        <p:nvSpPr>
          <p:cNvPr id="2" name="Obdélník 1"/>
          <p:cNvSpPr/>
          <p:nvPr userDrawn="1"/>
        </p:nvSpPr>
        <p:spPr>
          <a:xfrm>
            <a:off x="11382163" y="6673334"/>
            <a:ext cx="809837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" dirty="0" smtClean="0"/>
              <a:t>CZ/TCN/0219/0010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2007304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  <p:sldLayoutId id="2147483943" r:id="rId13"/>
    <p:sldLayoutId id="2147483944" r:id="rId14"/>
    <p:sldLayoutId id="2147483945" r:id="rId15"/>
    <p:sldLayoutId id="2147483946" r:id="rId16"/>
    <p:sldLayoutId id="2147483947" r:id="rId17"/>
    <p:sldLayoutId id="2147483948" r:id="rId18"/>
    <p:sldLayoutId id="2147483949" r:id="rId19"/>
    <p:sldLayoutId id="2147483950" r:id="rId20"/>
    <p:sldLayoutId id="2147483951" r:id="rId21"/>
    <p:sldLayoutId id="2147483952" r:id="rId22"/>
    <p:sldLayoutId id="2147483953" r:id="rId23"/>
    <p:sldLayoutId id="2147483954" r:id="rId24"/>
    <p:sldLayoutId id="2147483955" r:id="rId25"/>
    <p:sldLayoutId id="2147483956" r:id="rId26"/>
    <p:sldLayoutId id="2147483957" r:id="rId27"/>
    <p:sldLayoutId id="2147483958" r:id="rId28"/>
    <p:sldLayoutId id="2147483959" r:id="rId29"/>
    <p:sldLayoutId id="2147483960" r:id="rId30"/>
    <p:sldLayoutId id="2147483961" r:id="rId31"/>
    <p:sldLayoutId id="2147483962" r:id="rId32"/>
    <p:sldLayoutId id="2147483963" r:id="rId33"/>
    <p:sldLayoutId id="2147483964" r:id="rId34"/>
    <p:sldLayoutId id="2147483965" r:id="rId35"/>
    <p:sldLayoutId id="2147483966" r:id="rId36"/>
    <p:sldLayoutId id="2147483967" r:id="rId37"/>
    <p:sldLayoutId id="2147483968" r:id="rId38"/>
    <p:sldLayoutId id="2147483969" r:id="rId39"/>
    <p:sldLayoutId id="2147483970" r:id="rId40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9pPr>
    </p:titleStyle>
    <p:bodyStyle>
      <a:lvl1pPr marL="285750" indent="-285750" algn="l" rtl="0" eaLnBrk="0" fontAlgn="base" hangingPunct="0">
        <a:spcBef>
          <a:spcPct val="75000"/>
        </a:spcBef>
        <a:spcAft>
          <a:spcPct val="0"/>
        </a:spcAft>
        <a:buSzPct val="100000"/>
        <a:buFont typeface="Arial" pitchFamily="34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63588" indent="-287338" algn="l" rtl="0" eaLnBrk="0" fontAlgn="base" hangingPunct="0">
        <a:spcBef>
          <a:spcPct val="3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241425" indent="-287338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719263" indent="-287338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195513" indent="-28575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652713" indent="-28575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109913" indent="-28575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567113" indent="-28575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024313" indent="-28575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5599" y="239712"/>
            <a:ext cx="11361119" cy="1069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5600" y="1515797"/>
            <a:ext cx="11361117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2981C8CB-179F-46E2-B161-20D925DC0D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3707" t="5548" r="79289" b="83339"/>
          <a:stretch/>
        </p:blipFill>
        <p:spPr>
          <a:xfrm>
            <a:off x="10652585" y="7696"/>
            <a:ext cx="1512436" cy="555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92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</p:sldLayoutIdLst>
  <p:hf sldNum="0" hdr="0" dt="0"/>
  <p:txStyles>
    <p:titleStyle>
      <a:lvl1pPr algn="l" defTabSz="609585" rtl="0" eaLnBrk="1" fontAlgn="base" hangingPunct="1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2pPr>
      <a:lvl3pPr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3pPr>
      <a:lvl4pPr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4pPr>
      <a:lvl5pPr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5pPr>
      <a:lvl6pPr marL="609585"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ＭＳ Ｐゴシック" charset="0"/>
        </a:defRPr>
      </a:lvl6pPr>
      <a:lvl7pPr marL="1219170"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ＭＳ Ｐゴシック" charset="0"/>
        </a:defRPr>
      </a:lvl7pPr>
      <a:lvl8pPr marL="1828754"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ＭＳ Ｐゴシック" charset="0"/>
        </a:defRPr>
      </a:lvl8pPr>
      <a:lvl9pPr marL="2438339"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ＭＳ Ｐゴシック" charset="0"/>
        </a:defRPr>
      </a:lvl9pPr>
    </p:titleStyle>
    <p:bodyStyle>
      <a:lvl1pPr marL="304792" indent="-304792" algn="l" defTabSz="609585" rtl="0" eaLnBrk="1" fontAlgn="base" hangingPunct="1">
        <a:spcBef>
          <a:spcPts val="800"/>
        </a:spcBef>
        <a:spcAft>
          <a:spcPct val="0"/>
        </a:spcAft>
        <a:buClr>
          <a:schemeClr val="accent6"/>
        </a:buClr>
        <a:buSzPct val="35000"/>
        <a:buFont typeface="Wingdings" panose="05000000000000000000" pitchFamily="2" charset="2"/>
        <a:buChar char="u"/>
        <a:defRPr sz="2133" kern="120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marL="609585" indent="-304792" algn="l" defTabSz="609585" rtl="0" eaLnBrk="1" fontAlgn="base" hangingPunct="1">
        <a:spcBef>
          <a:spcPts val="800"/>
        </a:spcBef>
        <a:spcAft>
          <a:spcPct val="0"/>
        </a:spcAft>
        <a:buClr>
          <a:schemeClr val="accent6"/>
        </a:buClr>
        <a:buSzPct val="100000"/>
        <a:buFont typeface="Arial Narrow" panose="020B0606020202030204" pitchFamily="34" charset="0"/>
        <a:buChar char="−"/>
        <a:defRPr sz="2133" kern="120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2pPr>
      <a:lvl3pPr marL="914377" indent="-304792" algn="l" defTabSz="609585" rtl="0" eaLnBrk="1" fontAlgn="base" hangingPunct="1">
        <a:spcBef>
          <a:spcPts val="800"/>
        </a:spcBef>
        <a:spcAft>
          <a:spcPct val="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3pPr>
      <a:lvl4pPr marL="2133547" indent="-304792" algn="l" defTabSz="6095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743131" indent="-304792" algn="l" defTabSz="6095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8">
          <p15:clr>
            <a:srgbClr val="F26B43"/>
          </p15:clr>
        </p15:guide>
        <p15:guide id="2" orient="horz" pos="70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3B17B0D-730B-4CB6-B145-A2B37E0FBB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78"/>
          <a:stretch/>
        </p:blipFill>
        <p:spPr>
          <a:xfrm>
            <a:off x="-6525" y="0"/>
            <a:ext cx="5805284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9E5161E-A312-437D-898B-32D26C02871D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1000"/>
                </a:schemeClr>
              </a:gs>
              <a:gs pos="94000">
                <a:srgbClr val="E1F0FF"/>
              </a:gs>
              <a:gs pos="38000">
                <a:schemeClr val="bg1">
                  <a:alpha val="62000"/>
                </a:schemeClr>
              </a:gs>
              <a:gs pos="100000">
                <a:srgbClr val="E1F0FF">
                  <a:alpha val="72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i="1" dirty="0">
              <a:solidFill>
                <a:srgbClr val="000000"/>
              </a:solidFill>
              <a:latin typeface="Imago-Medium" pitchFamily="2" charset="0"/>
              <a:ea typeface="MS PGothic" pitchFamily="34" charset="-128"/>
            </a:endParaRPr>
          </a:p>
        </p:txBody>
      </p:sp>
      <p:pic>
        <p:nvPicPr>
          <p:cNvPr id="5" name="Picture 2" descr="X:\Studio_Main\PRESENTATIONS\04 Logos\Roche\Roche logo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72596" y="456112"/>
            <a:ext cx="840941" cy="43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5571" name="Title Placeholder 1"/>
          <p:cNvSpPr>
            <a:spLocks noGrp="1"/>
          </p:cNvSpPr>
          <p:nvPr>
            <p:ph type="title"/>
          </p:nvPr>
        </p:nvSpPr>
        <p:spPr bwMode="auto">
          <a:xfrm>
            <a:off x="469900" y="128588"/>
            <a:ext cx="10198100" cy="1251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6557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9901" y="1555377"/>
            <a:ext cx="11135784" cy="4529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316995-B1A8-4390-AA85-29B86F0F3D74}"/>
              </a:ext>
            </a:extLst>
          </p:cNvPr>
          <p:cNvSpPr/>
          <p:nvPr userDrawn="1"/>
        </p:nvSpPr>
        <p:spPr bwMode="auto">
          <a:xfrm>
            <a:off x="0" y="1398494"/>
            <a:ext cx="12192000" cy="45719"/>
          </a:xfrm>
          <a:prstGeom prst="rect">
            <a:avLst/>
          </a:prstGeom>
          <a:gradFill flip="none" rotWithShape="1">
            <a:gsLst>
              <a:gs pos="31000">
                <a:schemeClr val="accent1"/>
              </a:gs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i="1" dirty="0">
              <a:solidFill>
                <a:srgbClr val="000000"/>
              </a:solidFill>
              <a:latin typeface="Imago-Medium" pitchFamily="2" charset="0"/>
              <a:ea typeface="MS PGothic" pitchFamily="34" charset="-128"/>
            </a:endParaRPr>
          </a:p>
        </p:txBody>
      </p:sp>
      <p:sp>
        <p:nvSpPr>
          <p:cNvPr id="9" name="TextovéPole 8"/>
          <p:cNvSpPr txBox="1"/>
          <p:nvPr userDrawn="1"/>
        </p:nvSpPr>
        <p:spPr>
          <a:xfrm rot="16200000">
            <a:off x="11179731" y="3064864"/>
            <a:ext cx="17469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0" i="0" kern="1200" dirty="0" smtClean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M-CZ-00002000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2288590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  <p:sldLayoutId id="2147483995" r:id="rId12"/>
    <p:sldLayoutId id="2147483996" r:id="rId13"/>
    <p:sldLayoutId id="2147483997" r:id="rId14"/>
  </p:sldLayoutIdLst>
  <p:transition/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5pPr>
      <a:lvl6pPr marL="60958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6pPr>
      <a:lvl7pPr marL="12191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7pPr>
      <a:lvl8pPr marL="182875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8pPr>
      <a:lvl9pPr marL="24383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9pPr>
    </p:titleStyle>
    <p:bodyStyle>
      <a:lvl1pPr marL="268288" indent="-268288" algn="l" rtl="0" eaLnBrk="1" fontAlgn="base" hangingPunct="1">
        <a:spcBef>
          <a:spcPts val="16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400">
          <a:solidFill>
            <a:schemeClr val="tx1"/>
          </a:solidFill>
          <a:latin typeface="Imago" pitchFamily="2" charset="0"/>
          <a:ea typeface="+mn-ea"/>
          <a:cs typeface="+mn-cs"/>
        </a:defRPr>
      </a:lvl1pPr>
      <a:lvl2pPr marL="538163" indent="-269875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2000">
          <a:solidFill>
            <a:schemeClr val="tx1"/>
          </a:solidFill>
          <a:latin typeface="Imago" pitchFamily="2" charset="0"/>
        </a:defRPr>
      </a:lvl2pPr>
      <a:lvl3pPr marL="806450" indent="-268288" algn="l" rtl="0" eaLnBrk="1" fontAlgn="base" hangingPunct="1">
        <a:spcBef>
          <a:spcPts val="4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800">
          <a:solidFill>
            <a:schemeClr val="tx1"/>
          </a:solidFill>
          <a:latin typeface="Imago" pitchFamily="2" charset="0"/>
        </a:defRPr>
      </a:lvl3pPr>
      <a:lvl4pPr marL="1076325" indent="-277813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600">
          <a:solidFill>
            <a:schemeClr val="tx1"/>
          </a:solidFill>
          <a:latin typeface="Imago" pitchFamily="2" charset="0"/>
        </a:defRPr>
      </a:lvl4pPr>
      <a:lvl5pPr marL="1290638" indent="-206375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400">
          <a:solidFill>
            <a:schemeClr val="tx1"/>
          </a:solidFill>
          <a:latin typeface="Imago" pitchFamily="2" charset="0"/>
        </a:defRPr>
      </a:lvl5pPr>
      <a:lvl6pPr marL="2764298" indent="-465655" algn="l" rtl="0" eaLnBrk="1" fontAlgn="base" hangingPunct="1">
        <a:spcBef>
          <a:spcPct val="20000"/>
        </a:spcBef>
        <a:spcAft>
          <a:spcPct val="0"/>
        </a:spcAft>
        <a:buClr>
          <a:srgbClr val="FB6D13"/>
        </a:buClr>
        <a:buFont typeface="Arial" pitchFamily="34" charset="0"/>
        <a:buChar char="»"/>
        <a:defRPr sz="1867">
          <a:solidFill>
            <a:schemeClr val="tx1"/>
          </a:solidFill>
          <a:latin typeface="+mn-lt"/>
        </a:defRPr>
      </a:lvl6pPr>
      <a:lvl7pPr marL="3373882" indent="-465655" algn="l" rtl="0" eaLnBrk="1" fontAlgn="base" hangingPunct="1">
        <a:spcBef>
          <a:spcPct val="20000"/>
        </a:spcBef>
        <a:spcAft>
          <a:spcPct val="0"/>
        </a:spcAft>
        <a:buClr>
          <a:srgbClr val="FB6D13"/>
        </a:buClr>
        <a:buFont typeface="Arial" pitchFamily="34" charset="0"/>
        <a:buChar char="»"/>
        <a:defRPr sz="1867">
          <a:solidFill>
            <a:schemeClr val="tx1"/>
          </a:solidFill>
          <a:latin typeface="+mn-lt"/>
        </a:defRPr>
      </a:lvl7pPr>
      <a:lvl8pPr marL="3983467" indent="-465655" algn="l" rtl="0" eaLnBrk="1" fontAlgn="base" hangingPunct="1">
        <a:spcBef>
          <a:spcPct val="20000"/>
        </a:spcBef>
        <a:spcAft>
          <a:spcPct val="0"/>
        </a:spcAft>
        <a:buClr>
          <a:srgbClr val="FB6D13"/>
        </a:buClr>
        <a:buFont typeface="Arial" pitchFamily="34" charset="0"/>
        <a:buChar char="»"/>
        <a:defRPr sz="1867">
          <a:solidFill>
            <a:schemeClr val="tx1"/>
          </a:solidFill>
          <a:latin typeface="+mn-lt"/>
        </a:defRPr>
      </a:lvl8pPr>
      <a:lvl9pPr marL="4593052" indent="-465655" algn="l" rtl="0" eaLnBrk="1" fontAlgn="base" hangingPunct="1">
        <a:spcBef>
          <a:spcPct val="20000"/>
        </a:spcBef>
        <a:spcAft>
          <a:spcPct val="0"/>
        </a:spcAft>
        <a:buClr>
          <a:srgbClr val="FB6D13"/>
        </a:buClr>
        <a:buFont typeface="Arial" pitchFamily="34" charset="0"/>
        <a:buChar char="»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315">
          <p15:clr>
            <a:srgbClr val="F26B43"/>
          </p15:clr>
        </p15:guide>
        <p15:guide id="4" pos="291">
          <p15:clr>
            <a:srgbClr val="F26B43"/>
          </p15:clr>
        </p15:guide>
        <p15:guide id="5" orient="horz" pos="3834">
          <p15:clr>
            <a:srgbClr val="F26B43"/>
          </p15:clr>
        </p15:guide>
        <p15:guide id="6" orient="horz" pos="786">
          <p15:clr>
            <a:srgbClr val="F26B43"/>
          </p15:clr>
        </p15:guide>
        <p15:guide id="7" orient="horz" pos="4254">
          <p15:clr>
            <a:srgbClr val="F26B43"/>
          </p15:clr>
        </p15:guide>
        <p15:guide id="8" orient="horz" pos="97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20.png"/><Relationship Id="rId4" Type="http://schemas.openxmlformats.org/officeDocument/2006/relationships/chart" Target="../charts/char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chart" Target="../charts/chart7.xml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2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2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ukl.cz/" TargetMode="External"/><Relationship Id="rId2" Type="http://schemas.openxmlformats.org/officeDocument/2006/relationships/hyperlink" Target="https://www.sukl.cz/" TargetMode="External"/><Relationship Id="rId1" Type="http://schemas.openxmlformats.org/officeDocument/2006/relationships/slideLayout" Target="../slideLayouts/slideLayout59.xml"/><Relationship Id="rId4" Type="http://schemas.openxmlformats.org/officeDocument/2006/relationships/hyperlink" Target="http://www.ema.europa.eu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f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80" name="shpTitleSlide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29310" y="667254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mago" pitchFamily="2" charset="0"/>
              <a:ea typeface="+mn-ea"/>
              <a:cs typeface="+mn-cs"/>
            </a:endParaRPr>
          </a:p>
        </p:txBody>
      </p:sp>
      <p:sp>
        <p:nvSpPr>
          <p:cNvPr id="14" name="Rectangle 25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433250" y="2181330"/>
            <a:ext cx="11128708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9pPr>
          </a:lstStyle>
          <a:p>
            <a:pPr algn="ctr"/>
            <a: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  <a:t>Protinádorová imunoterapie </a:t>
            </a:r>
            <a:b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</a:br>
            <a: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  <a:t>v léčbě triple negativního karcinomu prsu</a:t>
            </a:r>
            <a:b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</a:br>
            <a: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  <a:t> </a:t>
            </a:r>
            <a:b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</a:br>
            <a: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  <a:t>IMpassion130</a:t>
            </a:r>
            <a:b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</a:br>
            <a:endParaRPr lang="en-US" sz="3200" kern="1200" dirty="0">
              <a:solidFill>
                <a:srgbClr val="830065"/>
              </a:solidFill>
              <a:cs typeface="Arial" pitchFamily="34" charset="0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0" y="6672542"/>
            <a:ext cx="12192000" cy="1854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mago" pitchFamily="2" charset="0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734452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>
          <a:xfrm>
            <a:off x="443038" y="455972"/>
            <a:ext cx="11349328" cy="691765"/>
          </a:xfrm>
        </p:spPr>
        <p:txBody>
          <a:bodyPr/>
          <a:lstStyle/>
          <a:p>
            <a:r>
              <a:rPr lang="cs-CZ" dirty="0" smtClean="0"/>
              <a:t>Dispozice </a:t>
            </a:r>
            <a:r>
              <a:rPr lang="cs-CZ" dirty="0"/>
              <a:t>pacientů ve </a:t>
            </a:r>
            <a:r>
              <a:rPr lang="cs-CZ" dirty="0" smtClean="0"/>
              <a:t>finální analýze</a:t>
            </a:r>
            <a:endParaRPr lang="cs-CZ" dirty="0"/>
          </a:p>
        </p:txBody>
      </p:sp>
      <p:graphicFrame>
        <p:nvGraphicFramePr>
          <p:cNvPr id="6" name="Chart 25">
            <a:extLst>
              <a:ext uri="{FF2B5EF4-FFF2-40B4-BE49-F238E27FC236}">
                <a16:creationId xmlns:a16="http://schemas.microsoft.com/office/drawing/2014/main" id="{5B5DC416-5B9D-4A34-B347-DDEE5423C0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7309978"/>
              </p:ext>
            </p:extLst>
          </p:nvPr>
        </p:nvGraphicFramePr>
        <p:xfrm>
          <a:off x="980299" y="1447775"/>
          <a:ext cx="3914159" cy="4200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EAC3F01-7559-4E33-80A9-F2D9FFE896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725" y="6349083"/>
            <a:ext cx="11223106" cy="778294"/>
          </a:xfrm>
        </p:spPr>
        <p:txBody>
          <a:bodyPr/>
          <a:lstStyle/>
          <a:p>
            <a:r>
              <a:rPr lang="en-US" sz="800" i="0" dirty="0">
                <a:solidFill>
                  <a:srgbClr val="000000"/>
                </a:solidFill>
                <a:latin typeface="+mn-lt"/>
              </a:rPr>
              <a:t>IF, </a:t>
            </a:r>
            <a:r>
              <a:rPr lang="cs-CZ" sz="800" i="0" dirty="0" smtClean="0">
                <a:solidFill>
                  <a:srgbClr val="000000"/>
                </a:solidFill>
                <a:latin typeface="+mn-lt"/>
              </a:rPr>
              <a:t>informační zlomek</a:t>
            </a:r>
            <a:r>
              <a:rPr lang="en-US" sz="800" i="0" dirty="0" smtClean="0">
                <a:solidFill>
                  <a:srgbClr val="000000"/>
                </a:solidFill>
                <a:latin typeface="+mn-lt"/>
              </a:rPr>
              <a:t>; </a:t>
            </a:r>
            <a:r>
              <a:rPr lang="en-US" sz="800" i="0" dirty="0">
                <a:solidFill>
                  <a:srgbClr val="000000"/>
                </a:solidFill>
                <a:latin typeface="+mn-lt"/>
              </a:rPr>
              <a:t>mFU, </a:t>
            </a:r>
            <a:r>
              <a:rPr lang="en-US" sz="800" i="0" dirty="0" err="1" smtClean="0">
                <a:solidFill>
                  <a:srgbClr val="000000"/>
                </a:solidFill>
                <a:latin typeface="+mn-lt"/>
              </a:rPr>
              <a:t>medi</a:t>
            </a:r>
            <a:r>
              <a:rPr lang="cs-CZ" sz="800" i="0" dirty="0" err="1" smtClean="0">
                <a:solidFill>
                  <a:srgbClr val="000000"/>
                </a:solidFill>
                <a:latin typeface="+mn-lt"/>
              </a:rPr>
              <a:t>án</a:t>
            </a:r>
            <a:r>
              <a:rPr lang="en-US" sz="800" i="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en-US" sz="800" i="0" dirty="0">
                <a:solidFill>
                  <a:srgbClr val="000000"/>
                </a:solidFill>
                <a:latin typeface="+mn-lt"/>
              </a:rPr>
              <a:t>follow-up. </a:t>
            </a:r>
            <a:br>
              <a:rPr lang="en-US" sz="800" i="0" dirty="0">
                <a:solidFill>
                  <a:srgbClr val="000000"/>
                </a:solidFill>
                <a:latin typeface="+mn-lt"/>
              </a:rPr>
            </a:br>
            <a:r>
              <a:rPr lang="cs-CZ" sz="800" i="0" kern="0" dirty="0" smtClean="0">
                <a:solidFill>
                  <a:srgbClr val="000000"/>
                </a:solidFill>
                <a:latin typeface="+mn-lt"/>
                <a:cs typeface="Arial"/>
                <a:sym typeface="Arial"/>
              </a:rPr>
              <a:t>Datum klinického ukončení</a:t>
            </a:r>
            <a:r>
              <a:rPr lang="en-US" sz="800" i="0" kern="0" dirty="0" smtClean="0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rPr>
              <a:t>: </a:t>
            </a:r>
            <a:r>
              <a:rPr lang="cs-CZ" sz="800" i="0" kern="0" dirty="0" smtClean="0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rPr>
              <a:t>Leden</a:t>
            </a:r>
            <a:r>
              <a:rPr lang="en-US" sz="800" i="0" kern="0" dirty="0" smtClean="0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rPr>
              <a:t> </a:t>
            </a:r>
            <a:r>
              <a:rPr lang="en-US" sz="800" i="0" kern="0" dirty="0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rPr>
              <a:t>2, 2019. </a:t>
            </a:r>
            <a:endParaRPr lang="en-US" sz="800" i="0" dirty="0">
              <a:solidFill>
                <a:srgbClr val="000000"/>
              </a:solidFill>
              <a:latin typeface="+mn-lt"/>
            </a:endParaRPr>
          </a:p>
          <a:p>
            <a:r>
              <a:rPr lang="cs-CZ" sz="800" i="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pt-BR" sz="800" i="0" dirty="0">
                <a:solidFill>
                  <a:srgbClr val="000000"/>
                </a:solidFill>
                <a:latin typeface="+mn-lt"/>
              </a:rPr>
              <a:t>Emens LA. ESMO </a:t>
            </a:r>
            <a:r>
              <a:rPr lang="pt-BR" sz="800" i="0" dirty="0" smtClean="0">
                <a:solidFill>
                  <a:srgbClr val="000000"/>
                </a:solidFill>
                <a:latin typeface="+mn-lt"/>
              </a:rPr>
              <a:t>2020.</a:t>
            </a:r>
            <a:r>
              <a:rPr lang="cs-CZ" sz="800" i="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pt-BR" sz="800" i="0" dirty="0" smtClean="0">
                <a:solidFill>
                  <a:srgbClr val="000000"/>
                </a:solidFill>
                <a:latin typeface="+mn-lt"/>
              </a:rPr>
              <a:t>IMpassion130 </a:t>
            </a:r>
            <a:r>
              <a:rPr lang="pt-BR" sz="800" i="0" dirty="0">
                <a:solidFill>
                  <a:srgbClr val="000000"/>
                </a:solidFill>
                <a:latin typeface="+mn-lt"/>
              </a:rPr>
              <a:t>Final OS.</a:t>
            </a:r>
          </a:p>
          <a:p>
            <a:endParaRPr lang="en-US" sz="800" i="0" kern="0" dirty="0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3278141B-11B2-4A75-BDC6-B5570CA18BFF}"/>
              </a:ext>
            </a:extLst>
          </p:cNvPr>
          <p:cNvSpPr txBox="1"/>
          <p:nvPr/>
        </p:nvSpPr>
        <p:spPr>
          <a:xfrm>
            <a:off x="154549" y="3982127"/>
            <a:ext cx="884858" cy="110799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cs-CZ" b="1" dirty="0">
                <a:latin typeface="Arial" panose="020B0604020202020204" pitchFamily="34" charset="0"/>
                <a:cs typeface="Arial" panose="020B0604020202020204" pitchFamily="34" charset="0"/>
              </a:rPr>
              <a:t>Druhá</a:t>
            </a: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r"/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interim </a:t>
            </a:r>
            <a:endParaRPr lang="cs-CZ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cs-CZ" dirty="0" smtClean="0">
                <a:latin typeface="Arial" panose="020B0604020202020204" pitchFamily="34" charset="0"/>
                <a:cs typeface="Arial" panose="020B0604020202020204" pitchFamily="34" charset="0"/>
              </a:rPr>
              <a:t>analýz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80% IF)</a:t>
            </a:r>
          </a:p>
        </p:txBody>
      </p:sp>
      <p:sp>
        <p:nvSpPr>
          <p:cNvPr id="10" name="TextBox 35">
            <a:extLst>
              <a:ext uri="{FF2B5EF4-FFF2-40B4-BE49-F238E27FC236}">
                <a16:creationId xmlns:a16="http://schemas.microsoft.com/office/drawing/2014/main" id="{A5255C60-B0B0-4083-9B16-F4AFF69353C5}"/>
              </a:ext>
            </a:extLst>
          </p:cNvPr>
          <p:cNvSpPr txBox="1"/>
          <p:nvPr/>
        </p:nvSpPr>
        <p:spPr>
          <a:xfrm>
            <a:off x="1073056" y="1984682"/>
            <a:ext cx="24769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12.9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cs-CZ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ěsíců</a:t>
            </a:r>
            <a:r>
              <a:rPr lang="cs-CZ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mediánu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U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36">
            <a:extLst>
              <a:ext uri="{FF2B5EF4-FFF2-40B4-BE49-F238E27FC236}">
                <a16:creationId xmlns:a16="http://schemas.microsoft.com/office/drawing/2014/main" id="{3E83FECB-7D2B-4A2B-94E3-98B6AD8E8374}"/>
              </a:ext>
            </a:extLst>
          </p:cNvPr>
          <p:cNvSpPr txBox="1"/>
          <p:nvPr/>
        </p:nvSpPr>
        <p:spPr>
          <a:xfrm>
            <a:off x="1127015" y="3997126"/>
            <a:ext cx="2634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8.0 </a:t>
            </a:r>
            <a:r>
              <a:rPr lang="cs-CZ" dirty="0" smtClean="0">
                <a:latin typeface="Arial" panose="020B0604020202020204" pitchFamily="34" charset="0"/>
                <a:cs typeface="Arial" panose="020B0604020202020204" pitchFamily="34" charset="0"/>
              </a:rPr>
              <a:t>měsíců medián FU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37">
            <a:extLst>
              <a:ext uri="{FF2B5EF4-FFF2-40B4-BE49-F238E27FC236}">
                <a16:creationId xmlns:a16="http://schemas.microsoft.com/office/drawing/2014/main" id="{F2084B27-BD8B-4C20-81EB-10980849512E}"/>
              </a:ext>
            </a:extLst>
          </p:cNvPr>
          <p:cNvSpPr txBox="1"/>
          <p:nvPr/>
        </p:nvSpPr>
        <p:spPr>
          <a:xfrm>
            <a:off x="1127015" y="2574705"/>
            <a:ext cx="23113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% </a:t>
            </a:r>
            <a:r>
              <a:rPr lang="cs-CZ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mrtí v </a:t>
            </a: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T </a:t>
            </a:r>
            <a:r>
              <a:rPr lang="en-US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ula</a:t>
            </a:r>
            <a:r>
              <a:rPr lang="cs-CZ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38">
            <a:extLst>
              <a:ext uri="{FF2B5EF4-FFF2-40B4-BE49-F238E27FC236}">
                <a16:creationId xmlns:a16="http://schemas.microsoft.com/office/drawing/2014/main" id="{EA19BD93-5F9F-44DE-81EC-71AEFBD58E4F}"/>
              </a:ext>
            </a:extLst>
          </p:cNvPr>
          <p:cNvSpPr txBox="1"/>
          <p:nvPr/>
        </p:nvSpPr>
        <p:spPr>
          <a:xfrm>
            <a:off x="1127015" y="4720625"/>
            <a:ext cx="2745303" cy="3693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% </a:t>
            </a:r>
            <a:r>
              <a:rPr lang="cs-CZ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mrtí v</a:t>
            </a: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T </a:t>
            </a:r>
            <a:r>
              <a:rPr lang="en-US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ula</a:t>
            </a:r>
            <a:r>
              <a:rPr lang="cs-CZ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3">
            <a:extLst>
              <a:ext uri="{FF2B5EF4-FFF2-40B4-BE49-F238E27FC236}">
                <a16:creationId xmlns:a16="http://schemas.microsoft.com/office/drawing/2014/main" id="{20AF3789-BF72-41FA-BC1F-EF050B53776C}"/>
              </a:ext>
            </a:extLst>
          </p:cNvPr>
          <p:cNvSpPr txBox="1"/>
          <p:nvPr/>
        </p:nvSpPr>
        <p:spPr>
          <a:xfrm>
            <a:off x="154549" y="1992820"/>
            <a:ext cx="884858" cy="110799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cs-CZ" b="1" dirty="0" smtClean="0">
                <a:latin typeface="Arial" panose="020B0604020202020204" pitchFamily="34" charset="0"/>
                <a:cs typeface="Arial" panose="020B0604020202020204" pitchFamily="34" charset="0"/>
              </a:rPr>
              <a:t>První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cs-CZ" dirty="0" smtClean="0">
                <a:latin typeface="Arial" panose="020B0604020202020204" pitchFamily="34" charset="0"/>
                <a:cs typeface="Arial" panose="020B0604020202020204" pitchFamily="34" charset="0"/>
              </a:rPr>
              <a:t>interim </a:t>
            </a:r>
            <a:br>
              <a:rPr lang="cs-CZ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dirty="0" smtClean="0">
                <a:latin typeface="Arial" panose="020B0604020202020204" pitchFamily="34" charset="0"/>
                <a:cs typeface="Arial" panose="020B0604020202020204" pitchFamily="34" charset="0"/>
              </a:rPr>
              <a:t>analýz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59% IF)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F9A1FAAB-AFBD-4C7E-9169-E516B873CE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7301347"/>
              </p:ext>
            </p:extLst>
          </p:nvPr>
        </p:nvGraphicFramePr>
        <p:xfrm>
          <a:off x="4758638" y="1016270"/>
          <a:ext cx="7033728" cy="557420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2509909">
                  <a:extLst>
                    <a:ext uri="{9D8B030D-6E8A-4147-A177-3AD203B41FA5}">
                      <a16:colId xmlns:a16="http://schemas.microsoft.com/office/drawing/2014/main" val="335231714"/>
                    </a:ext>
                  </a:extLst>
                </a:gridCol>
                <a:gridCol w="2225065">
                  <a:extLst>
                    <a:ext uri="{9D8B030D-6E8A-4147-A177-3AD203B41FA5}">
                      <a16:colId xmlns:a16="http://schemas.microsoft.com/office/drawing/2014/main" val="3294120029"/>
                    </a:ext>
                  </a:extLst>
                </a:gridCol>
                <a:gridCol w="2298754">
                  <a:extLst>
                    <a:ext uri="{9D8B030D-6E8A-4147-A177-3AD203B41FA5}">
                      <a16:colId xmlns:a16="http://schemas.microsoft.com/office/drawing/2014/main" val="3766445466"/>
                    </a:ext>
                  </a:extLst>
                </a:gridCol>
              </a:tblGrid>
              <a:tr h="632115">
                <a:tc rowSpan="2">
                  <a:txBody>
                    <a:bodyPr/>
                    <a:lstStyle/>
                    <a:p>
                      <a:pPr marL="5715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Finální</a:t>
                      </a:r>
                      <a:r>
                        <a:rPr lang="cs-CZ" sz="24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analýza</a:t>
                      </a:r>
                      <a:endParaRPr lang="en-US" sz="24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ITT </a:t>
                      </a:r>
                      <a:r>
                        <a:rPr lang="en-US" sz="14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popula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ce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1774287"/>
                  </a:ext>
                </a:extLst>
              </a:tr>
              <a:tr h="842819">
                <a:tc vMerge="1"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cs-CZ" sz="1400" b="1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400" b="1" i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a</a:t>
                      </a:r>
                      <a:r>
                        <a:rPr lang="cs-CZ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400" b="1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taxel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451)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cebo </a:t>
                      </a:r>
                      <a:endParaRPr lang="cs-CZ" sz="1400" b="1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400" b="1" i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a</a:t>
                      </a:r>
                      <a:r>
                        <a:rPr lang="cs-CZ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400" b="1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taxel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451)</a:t>
                      </a:r>
                      <a:endParaRPr lang="en-GB" b="1" dirty="0"/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5692079"/>
                  </a:ext>
                </a:extLst>
              </a:tr>
              <a:tr h="72179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8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cienti</a:t>
                      </a:r>
                      <a:r>
                        <a:rPr lang="cs-CZ" sz="1800" b="1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e studii</a:t>
                      </a:r>
                      <a:r>
                        <a:rPr lang="en-US" sz="18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cs-CZ" sz="18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</a:t>
                      </a:r>
                      <a:r>
                        <a:rPr lang="en-US" sz="18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</a:t>
                      </a:r>
                      <a:r>
                        <a:rPr lang="en-US" sz="18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  <a:endParaRPr lang="en-US" sz="1800" b="1" baseline="300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5715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1" baseline="300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87672356"/>
                  </a:ext>
                </a:extLst>
              </a:tr>
              <a:tr h="421409">
                <a:tc>
                  <a:txBody>
                    <a:bodyPr/>
                    <a:lstStyle/>
                    <a:p>
                      <a:pPr marL="18288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Pokračují</a:t>
                      </a:r>
                      <a:r>
                        <a:rPr lang="en-US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v </a:t>
                      </a:r>
                      <a:r>
                        <a:rPr lang="en-US" sz="1800" b="0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léčbě</a:t>
                      </a:r>
                      <a:endParaRPr lang="en-US" sz="1800" b="0" baseline="0" dirty="0" smtClean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7 (6)</a:t>
                      </a:r>
                      <a:endParaRPr lang="en-US" sz="1800" b="0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8 (2)</a:t>
                      </a:r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5825977"/>
                  </a:ext>
                </a:extLst>
              </a:tr>
              <a:tr h="536210">
                <a:tc>
                  <a:txBody>
                    <a:bodyPr/>
                    <a:lstStyle/>
                    <a:p>
                      <a:pPr marL="18288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Na </a:t>
                      </a:r>
                      <a:r>
                        <a:rPr lang="en-US" sz="1800" b="0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živu</a:t>
                      </a:r>
                      <a:r>
                        <a:rPr lang="en-US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0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ve</a:t>
                      </a:r>
                      <a:r>
                        <a:rPr lang="en-US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18288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follow-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68 (15)</a:t>
                      </a:r>
                      <a:endParaRPr lang="en-US" sz="1800" b="0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78 (17)</a:t>
                      </a:r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39644183"/>
                  </a:ext>
                </a:extLst>
              </a:tr>
              <a:tr h="721790">
                <a:tc>
                  <a:txBody>
                    <a:bodyPr/>
                    <a:lstStyle/>
                    <a:p>
                      <a:pPr marL="55563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Pacienti</a:t>
                      </a:r>
                      <a:r>
                        <a:rPr lang="en-US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800" b="1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kteří</a:t>
                      </a:r>
                      <a:r>
                        <a:rPr lang="en-US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ukončili</a:t>
                      </a:r>
                      <a:r>
                        <a:rPr lang="en-US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studii</a:t>
                      </a:r>
                      <a:r>
                        <a:rPr lang="en-US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, n (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55563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1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3835845"/>
                  </a:ext>
                </a:extLst>
              </a:tr>
              <a:tr h="421409">
                <a:tc>
                  <a:txBody>
                    <a:bodyPr/>
                    <a:lstStyle/>
                    <a:p>
                      <a:pPr marL="18288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Úmrtí</a:t>
                      </a:r>
                      <a:endParaRPr lang="en-US" sz="1800" b="0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22 (71)</a:t>
                      </a:r>
                      <a:endParaRPr lang="en-US" sz="1800" b="0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44 (76)</a:t>
                      </a:r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4891546"/>
                  </a:ext>
                </a:extLst>
              </a:tr>
              <a:tr h="421409">
                <a:tc>
                  <a:txBody>
                    <a:bodyPr/>
                    <a:lstStyle/>
                    <a:p>
                      <a:pPr marL="18288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Ztraceni ve</a:t>
                      </a:r>
                      <a:r>
                        <a:rPr lang="en-US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follow-up</a:t>
                      </a:r>
                      <a:r>
                        <a:rPr lang="cs-CZ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u</a:t>
                      </a:r>
                      <a:endParaRPr lang="en-US" sz="1800" b="0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4 (8)</a:t>
                      </a:r>
                      <a:endParaRPr lang="en-US" sz="1800" b="0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1 (5)</a:t>
                      </a:r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4442075"/>
                  </a:ext>
                </a:extLst>
              </a:tr>
              <a:tr h="842819">
                <a:tc>
                  <a:txBody>
                    <a:bodyPr/>
                    <a:lstStyle/>
                    <a:p>
                      <a:pPr marL="52388" marR="0" indent="3175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Median follow-up</a:t>
                      </a:r>
                      <a:r>
                        <a:rPr lang="cs-CZ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u</a:t>
                      </a:r>
                      <a:r>
                        <a:rPr lang="en-US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, m</a:t>
                      </a:r>
                      <a:r>
                        <a:rPr lang="cs-CZ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ěsíce</a:t>
                      </a:r>
                      <a:endParaRPr lang="en-US" sz="1800" b="1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563" marR="0" indent="-12700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9.7</a:t>
                      </a:r>
                      <a:endParaRPr lang="en-US" sz="1800" b="1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8.0</a:t>
                      </a:r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88987107"/>
                  </a:ext>
                </a:extLst>
              </a:tr>
            </a:tbl>
          </a:graphicData>
        </a:graphic>
      </p:graphicFrame>
      <p:pic>
        <p:nvPicPr>
          <p:cNvPr id="17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18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01565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k object 18">
            <a:extLst>
              <a:ext uri="{FF2B5EF4-FFF2-40B4-BE49-F238E27FC236}">
                <a16:creationId xmlns:a16="http://schemas.microsoft.com/office/drawing/2014/main" id="{7C997A38-94ED-493B-A5A3-D51E78BF432F}"/>
              </a:ext>
            </a:extLst>
          </p:cNvPr>
          <p:cNvSpPr/>
          <p:nvPr/>
        </p:nvSpPr>
        <p:spPr>
          <a:xfrm rot="16200000">
            <a:off x="3642456" y="4047031"/>
            <a:ext cx="1828800" cy="0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rgbClr val="ED1C24"/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6" name="bk object 18">
            <a:extLst>
              <a:ext uri="{FF2B5EF4-FFF2-40B4-BE49-F238E27FC236}">
                <a16:creationId xmlns:a16="http://schemas.microsoft.com/office/drawing/2014/main" id="{EDFBA1FB-14E6-4FCD-A7B4-BEC47D819F98}"/>
              </a:ext>
            </a:extLst>
          </p:cNvPr>
          <p:cNvSpPr/>
          <p:nvPr/>
        </p:nvSpPr>
        <p:spPr>
          <a:xfrm rot="16200000">
            <a:off x="3922377" y="4047031"/>
            <a:ext cx="1828800" cy="0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rgbClr val="4D64AE"/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9" name="bk object 18">
            <a:extLst>
              <a:ext uri="{FF2B5EF4-FFF2-40B4-BE49-F238E27FC236}">
                <a16:creationId xmlns:a16="http://schemas.microsoft.com/office/drawing/2014/main" id="{AC3B7F64-4EE6-4BB4-967C-022D110624AE}"/>
              </a:ext>
            </a:extLst>
          </p:cNvPr>
          <p:cNvSpPr/>
          <p:nvPr/>
        </p:nvSpPr>
        <p:spPr>
          <a:xfrm rot="16200000">
            <a:off x="6213843" y="4388407"/>
            <a:ext cx="1085088" cy="60959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chemeClr val="bg1">
                <a:lumMod val="65000"/>
              </a:schemeClr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4" name="bk object 18">
            <a:extLst>
              <a:ext uri="{FF2B5EF4-FFF2-40B4-BE49-F238E27FC236}">
                <a16:creationId xmlns:a16="http://schemas.microsoft.com/office/drawing/2014/main" id="{86EA50E7-0523-4AD2-B3A1-0F53A9EBB678}"/>
              </a:ext>
            </a:extLst>
          </p:cNvPr>
          <p:cNvSpPr/>
          <p:nvPr/>
        </p:nvSpPr>
        <p:spPr>
          <a:xfrm>
            <a:off x="2082551" y="3136067"/>
            <a:ext cx="2779776" cy="60959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chemeClr val="bg1">
                <a:lumMod val="65000"/>
              </a:schemeClr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F384EE-0A3B-4F6B-B657-0D276A175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u="sng" dirty="0" smtClean="0">
                <a:solidFill>
                  <a:srgbClr val="6E295B"/>
                </a:solidFill>
                <a:latin typeface="Arial"/>
                <a:ea typeface="+mj-ea"/>
              </a:rPr>
              <a:t>Finální analýza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/>
            </a:r>
            <a:b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</a:b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Prodloužení 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OS na 21 měsíců u </a:t>
            </a:r>
            <a:r>
              <a:rPr lang="en-US" sz="2600" dirty="0">
                <a:solidFill>
                  <a:srgbClr val="6E295B"/>
                </a:solidFill>
                <a:latin typeface="Arial"/>
                <a:ea typeface="+mj-ea"/>
              </a:rPr>
              <a:t>ITT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populace</a:t>
            </a:r>
            <a:endParaRPr lang="en-GB" u="sng" strike="sngStrik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778AD1-6C4C-4B55-84EE-A85AFA582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Data cutoff, 14 April 2020. Median survival follow-up, 18.8 months (all patients). HR, hazard ratio. </a:t>
            </a:r>
            <a:endParaRPr lang="en-GB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09C834C-B601-49A8-8360-647EDE79CD66}"/>
              </a:ext>
            </a:extLst>
          </p:cNvPr>
          <p:cNvSpPr txBox="1"/>
          <p:nvPr/>
        </p:nvSpPr>
        <p:spPr>
          <a:xfrm>
            <a:off x="8520816" y="6260869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6821C89-44F2-42AF-B277-DEF6C363CC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7184622"/>
              </p:ext>
            </p:extLst>
          </p:nvPr>
        </p:nvGraphicFramePr>
        <p:xfrm>
          <a:off x="8328258" y="976983"/>
          <a:ext cx="3735873" cy="2530027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422373">
                  <a:extLst>
                    <a:ext uri="{9D8B030D-6E8A-4147-A177-3AD203B41FA5}">
                      <a16:colId xmlns:a16="http://schemas.microsoft.com/office/drawing/2014/main" val="2380695724"/>
                    </a:ext>
                  </a:extLst>
                </a:gridCol>
                <a:gridCol w="1156750">
                  <a:extLst>
                    <a:ext uri="{9D8B030D-6E8A-4147-A177-3AD203B41FA5}">
                      <a16:colId xmlns:a16="http://schemas.microsoft.com/office/drawing/2014/main" val="3018412589"/>
                    </a:ext>
                  </a:extLst>
                </a:gridCol>
                <a:gridCol w="1156750">
                  <a:extLst>
                    <a:ext uri="{9D8B030D-6E8A-4147-A177-3AD203B41FA5}">
                      <a16:colId xmlns:a16="http://schemas.microsoft.com/office/drawing/2014/main" val="28381585"/>
                    </a:ext>
                  </a:extLst>
                </a:gridCol>
              </a:tblGrid>
              <a:tr h="611006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ITT </a:t>
                      </a:r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opulace</a:t>
                      </a:r>
                      <a:endParaRPr lang="en-US" sz="1600" b="1" dirty="0">
                        <a:solidFill>
                          <a:sysClr val="windowText" lastClr="000000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1719263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56661"/>
                  </a:ext>
                </a:extLst>
              </a:tr>
              <a:tr h="61666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1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GB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GB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1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klitaxel</a:t>
                      </a:r>
                      <a:endParaRPr lang="en-GB" sz="1100" b="1" i="0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451)</a:t>
                      </a:r>
                      <a:endParaRPr lang="en-US" sz="1100" b="1" i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7318" marR="57318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1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cebo</a:t>
                      </a: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klitaxel</a:t>
                      </a:r>
                      <a:endParaRPr lang="en-US" sz="1100" b="1" i="0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451)</a:t>
                      </a:r>
                      <a:endParaRPr lang="en-US" sz="1100" b="1" i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7318" marR="57318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3319366"/>
                  </a:ext>
                </a:extLst>
              </a:tr>
              <a:tr h="468438">
                <a:tc>
                  <a:txBody>
                    <a:bodyPr/>
                    <a:lstStyle/>
                    <a:p>
                      <a:pPr marL="67945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Četnost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OS, </a:t>
                      </a: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n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22 (71)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44 (76)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46852"/>
                  </a:ext>
                </a:extLst>
              </a:tr>
              <a:tr h="814676">
                <a:tc>
                  <a:txBody>
                    <a:bodyPr/>
                    <a:lstStyle/>
                    <a:p>
                      <a:pPr marL="60325" marR="0" indent="0" algn="l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tratifikované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HR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(95% CI)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.87 (0.75, 1.02)</a:t>
                      </a:r>
                    </a:p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i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=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.07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286385" marR="0" algn="l">
                        <a:lnSpc>
                          <a:spcPts val="116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77326824"/>
                  </a:ext>
                </a:extLst>
              </a:tr>
            </a:tbl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B6E8F551-C9F2-42C0-A173-BDFE963A39C1}"/>
              </a:ext>
            </a:extLst>
          </p:cNvPr>
          <p:cNvGrpSpPr/>
          <p:nvPr/>
        </p:nvGrpSpPr>
        <p:grpSpPr>
          <a:xfrm>
            <a:off x="1" y="792481"/>
            <a:ext cx="11043823" cy="5855748"/>
            <a:chOff x="0" y="594360"/>
            <a:chExt cx="8282867" cy="4391811"/>
          </a:xfrm>
        </p:grpSpPr>
        <p:pic>
          <p:nvPicPr>
            <p:cNvPr id="8" name="Picture 7" descr="A close up of a logo&#10;&#10;Description automatically generated">
              <a:extLst>
                <a:ext uri="{FF2B5EF4-FFF2-40B4-BE49-F238E27FC236}">
                  <a16:creationId xmlns:a16="http://schemas.microsoft.com/office/drawing/2014/main" id="{41483592-9F63-4564-83B8-B163CEC81E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696"/>
            <a:stretch/>
          </p:blipFill>
          <p:spPr>
            <a:xfrm>
              <a:off x="0" y="594360"/>
              <a:ext cx="8282867" cy="4391811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E6F0BDA-C067-4543-A673-BE574F7E4021}"/>
                </a:ext>
              </a:extLst>
            </p:cNvPr>
            <p:cNvSpPr txBox="1"/>
            <p:nvPr/>
          </p:nvSpPr>
          <p:spPr>
            <a:xfrm>
              <a:off x="2538042" y="3230316"/>
              <a:ext cx="91275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609585"/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18.7</a:t>
              </a:r>
              <a:r>
                <a:rPr lang="en-US" sz="1600" baseline="-250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</a:t>
              </a: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/>
              </a:r>
              <a:b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</a:b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16.9,</a:t>
              </a:r>
              <a:r>
                <a:rPr lang="en-US" sz="1600" baseline="-250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20.8)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8657324-2429-4FB7-8C36-9133647945A5}"/>
                </a:ext>
              </a:extLst>
            </p:cNvPr>
            <p:cNvSpPr txBox="1"/>
            <p:nvPr/>
          </p:nvSpPr>
          <p:spPr>
            <a:xfrm>
              <a:off x="3613595" y="3230316"/>
              <a:ext cx="91275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21.0</a:t>
              </a:r>
              <a:r>
                <a:rPr lang="en-US" sz="1600" baseline="-250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 </a:t>
              </a: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/>
              </a:r>
              <a:b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</a:b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19.0,</a:t>
              </a:r>
              <a:r>
                <a:rPr lang="en-US" sz="1600" baseline="-250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23.4)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4DA9B77-269D-4B76-AB75-A46BE393CC8D}"/>
                </a:ext>
              </a:extLst>
            </p:cNvPr>
            <p:cNvSpPr txBox="1"/>
            <p:nvPr/>
          </p:nvSpPr>
          <p:spPr>
            <a:xfrm>
              <a:off x="5017378" y="2418371"/>
              <a:ext cx="126981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3</a:t>
              </a:r>
              <a:r>
                <a:rPr lang="cs-CZ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-</a:t>
              </a:r>
              <a:r>
                <a:rPr lang="cs-CZ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roční</a:t>
              </a:r>
              <a:r>
                <a:rPr lang="en-US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S: 28%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82FA29F-87AF-4ED2-B20C-0C64D9E7F4E2}"/>
                </a:ext>
              </a:extLst>
            </p:cNvPr>
            <p:cNvSpPr txBox="1"/>
            <p:nvPr/>
          </p:nvSpPr>
          <p:spPr>
            <a:xfrm>
              <a:off x="5017378" y="2630257"/>
              <a:ext cx="126981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3</a:t>
              </a:r>
              <a:r>
                <a:rPr lang="cs-CZ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-</a:t>
              </a:r>
              <a:r>
                <a:rPr lang="cs-CZ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roční</a:t>
              </a:r>
              <a:r>
                <a:rPr lang="en-US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S: 25%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DA05B58-DB15-4B32-8B49-2B2B047281A9}"/>
                </a:ext>
              </a:extLst>
            </p:cNvPr>
            <p:cNvSpPr txBox="1"/>
            <p:nvPr/>
          </p:nvSpPr>
          <p:spPr>
            <a:xfrm>
              <a:off x="0" y="3939502"/>
              <a:ext cx="1457873" cy="58467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 defTabSz="1219170">
                <a:defRPr/>
              </a:pPr>
              <a:r>
                <a:rPr lang="en-GB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čet pacientů v riziku:</a:t>
              </a:r>
              <a:endParaRPr lang="en-GB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defTabSz="1219170">
                <a:defRPr/>
              </a:pPr>
              <a:endParaRPr lang="en-US" sz="1200" b="1" kern="0" dirty="0" smtClean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algn="r" defTabSz="1219170">
                <a:defRPr/>
              </a:pPr>
              <a:r>
                <a:rPr lang="en-US" sz="1333" kern="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 </a:t>
              </a:r>
              <a:r>
                <a:rPr lang="en-US" sz="1333" kern="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+ </a:t>
              </a:r>
              <a:r>
                <a:rPr lang="en-US" sz="1333" kern="0" dirty="0" err="1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endParaRPr lang="en-US" sz="1333" kern="0" dirty="0">
                <a:solidFill>
                  <a:srgbClr val="4D64A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algn="r" defTabSz="1219170">
                <a:defRPr/>
              </a:pPr>
              <a:r>
                <a:rPr lang="en-US" sz="1333" kern="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 + </a:t>
              </a:r>
              <a:r>
                <a:rPr lang="en-US" sz="1333" kern="0" dirty="0" err="1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endParaRPr lang="en-US" sz="1333" kern="0" dirty="0">
                <a:solidFill>
                  <a:srgbClr val="ED1C24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2128ED1-80AB-4547-8685-BD54B48F2CCC}"/>
                </a:ext>
              </a:extLst>
            </p:cNvPr>
            <p:cNvSpPr txBox="1"/>
            <p:nvPr/>
          </p:nvSpPr>
          <p:spPr>
            <a:xfrm>
              <a:off x="3409913" y="3975128"/>
              <a:ext cx="1463040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lvl="0"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cs-CZ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ba</a:t>
              </a:r>
              <a:r>
                <a:rPr lang="en-GB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m</a:t>
              </a:r>
              <a:r>
                <a:rPr lang="cs-CZ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ěsíce</a:t>
              </a:r>
              <a:r>
                <a:rPr lang="en-GB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CBD88B7-E2A1-4D45-A269-9C109041FAC9}"/>
                </a:ext>
              </a:extLst>
            </p:cNvPr>
            <p:cNvSpPr txBox="1"/>
            <p:nvPr/>
          </p:nvSpPr>
          <p:spPr>
            <a:xfrm rot="16200000">
              <a:off x="459167" y="2281113"/>
              <a:ext cx="1463040" cy="16932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 defTabSz="1219170">
                <a:defRPr/>
              </a:pPr>
              <a:r>
                <a:rPr lang="cs-CZ" sz="1467" b="1" kern="0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Celkové přežití (%)</a:t>
              </a:r>
              <a:endParaRPr lang="en-US" sz="1467" b="1" kern="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F8D56C1-0D55-4C4D-87E8-25AE4D79EA47}"/>
                </a:ext>
              </a:extLst>
            </p:cNvPr>
            <p:cNvSpPr txBox="1"/>
            <p:nvPr/>
          </p:nvSpPr>
          <p:spPr>
            <a:xfrm>
              <a:off x="1796470" y="3017656"/>
              <a:ext cx="163770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609585"/>
              <a:r>
                <a:rPr lang="en-US" sz="1600" b="1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edi</a:t>
              </a:r>
              <a:r>
                <a:rPr lang="cs-CZ" sz="1600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á</a:t>
              </a:r>
              <a:r>
                <a:rPr lang="en-US" sz="1600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 </a:t>
              </a:r>
              <a:r>
                <a:rPr lang="en-US" sz="1600" b="1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S (95% CI):</a:t>
              </a:r>
            </a:p>
          </p:txBody>
        </p:sp>
      </p:grpSp>
      <p:sp>
        <p:nvSpPr>
          <p:cNvPr id="26" name="TextovéPole 15"/>
          <p:cNvSpPr txBox="1"/>
          <p:nvPr/>
        </p:nvSpPr>
        <p:spPr>
          <a:xfrm>
            <a:off x="163124" y="1309467"/>
            <a:ext cx="1537344" cy="246221"/>
          </a:xfrm>
          <a:prstGeom prst="rect">
            <a:avLst/>
          </a:prstGeom>
          <a:noFill/>
          <a:ln w="19050">
            <a:solidFill>
              <a:srgbClr val="6E295B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inální</a:t>
            </a:r>
            <a:r>
              <a:rPr kumimoji="0" lang="cs-CZ" sz="1000" b="1" i="0" u="none" strike="noStrike" kern="0" cap="none" spc="0" normalizeH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cs-CZ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nalýza</a:t>
            </a:r>
          </a:p>
        </p:txBody>
      </p:sp>
      <p:pic>
        <p:nvPicPr>
          <p:cNvPr id="28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96931" y="148383"/>
            <a:ext cx="1304248" cy="792088"/>
          </a:xfrm>
          <a:prstGeom prst="rect">
            <a:avLst/>
          </a:prstGeom>
        </p:spPr>
      </p:pic>
      <p:sp>
        <p:nvSpPr>
          <p:cNvPr id="29" name="Obdélník 1"/>
          <p:cNvSpPr/>
          <p:nvPr/>
        </p:nvSpPr>
        <p:spPr>
          <a:xfrm rot="16200000">
            <a:off x="11609612" y="3822113"/>
            <a:ext cx="998579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374042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k object 18">
            <a:extLst>
              <a:ext uri="{FF2B5EF4-FFF2-40B4-BE49-F238E27FC236}">
                <a16:creationId xmlns:a16="http://schemas.microsoft.com/office/drawing/2014/main" id="{580CE7A9-3D01-4EEC-A757-20A437731E34}"/>
              </a:ext>
            </a:extLst>
          </p:cNvPr>
          <p:cNvSpPr/>
          <p:nvPr/>
        </p:nvSpPr>
        <p:spPr>
          <a:xfrm rot="16200000">
            <a:off x="3511223" y="4047031"/>
            <a:ext cx="1828800" cy="0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rgbClr val="ED1C24"/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8" name="bk object 18">
            <a:extLst>
              <a:ext uri="{FF2B5EF4-FFF2-40B4-BE49-F238E27FC236}">
                <a16:creationId xmlns:a16="http://schemas.microsoft.com/office/drawing/2014/main" id="{CA6266E3-BDCE-4FA0-8572-1AAAF492B0FA}"/>
              </a:ext>
            </a:extLst>
          </p:cNvPr>
          <p:cNvSpPr/>
          <p:nvPr/>
        </p:nvSpPr>
        <p:spPr>
          <a:xfrm rot="16200000">
            <a:off x="4458952" y="4047031"/>
            <a:ext cx="1828800" cy="0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rgbClr val="4D64AE"/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0" name="bk object 18">
            <a:extLst>
              <a:ext uri="{FF2B5EF4-FFF2-40B4-BE49-F238E27FC236}">
                <a16:creationId xmlns:a16="http://schemas.microsoft.com/office/drawing/2014/main" id="{8EF46D25-DCB2-49D2-9F2B-A6B645887B74}"/>
              </a:ext>
            </a:extLst>
          </p:cNvPr>
          <p:cNvSpPr/>
          <p:nvPr/>
        </p:nvSpPr>
        <p:spPr>
          <a:xfrm rot="16200000">
            <a:off x="6085827" y="4260391"/>
            <a:ext cx="1341120" cy="60959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chemeClr val="bg1">
                <a:lumMod val="65000"/>
              </a:schemeClr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1" name="bk object 18">
            <a:extLst>
              <a:ext uri="{FF2B5EF4-FFF2-40B4-BE49-F238E27FC236}">
                <a16:creationId xmlns:a16="http://schemas.microsoft.com/office/drawing/2014/main" id="{C34629AB-D7F4-4C81-AE3B-5EDF71E09ECD}"/>
              </a:ext>
            </a:extLst>
          </p:cNvPr>
          <p:cNvSpPr/>
          <p:nvPr/>
        </p:nvSpPr>
        <p:spPr>
          <a:xfrm>
            <a:off x="2082551" y="3136067"/>
            <a:ext cx="3291840" cy="60959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chemeClr val="bg1">
                <a:lumMod val="65000"/>
              </a:schemeClr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6" name="Picture 5" descr="A picture containing dark, flying, large, light&#10;&#10;Description automatically generated">
            <a:extLst>
              <a:ext uri="{FF2B5EF4-FFF2-40B4-BE49-F238E27FC236}">
                <a16:creationId xmlns:a16="http://schemas.microsoft.com/office/drawing/2014/main" id="{BE1399B2-F4FD-4C47-9BCB-DB0AF9BEC5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719"/>
          <a:stretch/>
        </p:blipFill>
        <p:spPr>
          <a:xfrm>
            <a:off x="239489" y="792481"/>
            <a:ext cx="10804335" cy="585574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7F384EE-0A3B-4F6B-B657-0D276A175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u="sng" dirty="0">
                <a:solidFill>
                  <a:srgbClr val="6E295B"/>
                </a:solidFill>
                <a:latin typeface="Arial"/>
              </a:rPr>
              <a:t>Finální analýza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/>
            </a:r>
            <a:b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</a:b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Prodloužení </a:t>
            </a:r>
            <a:r>
              <a:rPr lang="en-US" sz="2600" dirty="0">
                <a:solidFill>
                  <a:srgbClr val="6E295B"/>
                </a:solidFill>
                <a:latin typeface="Arial"/>
                <a:ea typeface="+mj-ea"/>
              </a:rPr>
              <a:t>O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S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u </a:t>
            </a:r>
            <a:r>
              <a:rPr lang="en-US" sz="2600" dirty="0">
                <a:solidFill>
                  <a:srgbClr val="6E295B"/>
                </a:solidFill>
                <a:latin typeface="Arial"/>
                <a:ea typeface="+mj-ea"/>
              </a:rPr>
              <a:t>PD-L1+ 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populace</a:t>
            </a:r>
            <a:endParaRPr lang="en-GB" strike="sngStrik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778AD1-6C4C-4B55-84EE-A85AFA582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9488" y="6356351"/>
            <a:ext cx="8585525" cy="366183"/>
          </a:xfrm>
        </p:spPr>
        <p:txBody>
          <a:bodyPr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Data </a:t>
            </a:r>
            <a:r>
              <a:rPr lang="en-US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cut</a:t>
            </a:r>
            <a:r>
              <a:rPr lang="cs-CZ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-</a:t>
            </a:r>
            <a:r>
              <a:rPr lang="en-US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off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, 14 April 2020. NE, not estimable. </a:t>
            </a:r>
            <a:b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</a:br>
            <a:r>
              <a:rPr lang="en-US" i="1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a </a:t>
            </a:r>
            <a:r>
              <a:rPr lang="en-US" i="1" dirty="0">
                <a:solidFill>
                  <a:prstClr val="black"/>
                </a:solidFill>
                <a:ea typeface="MS PGothic" panose="020B0600070205080204" pitchFamily="34" charset="-128"/>
              </a:rPr>
              <a:t>P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 value not displayed since OS in the PD-L1+ population was not formally tested due to the hierarchical study design.</a:t>
            </a:r>
            <a:endParaRPr lang="en-GB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77ACEF79-9BA8-47D5-8C64-4DBC942843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0368730"/>
              </p:ext>
            </p:extLst>
          </p:nvPr>
        </p:nvGraphicFramePr>
        <p:xfrm>
          <a:off x="6408568" y="1325536"/>
          <a:ext cx="5650083" cy="1900297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2151177">
                  <a:extLst>
                    <a:ext uri="{9D8B030D-6E8A-4147-A177-3AD203B41FA5}">
                      <a16:colId xmlns:a16="http://schemas.microsoft.com/office/drawing/2014/main" val="2380695724"/>
                    </a:ext>
                  </a:extLst>
                </a:gridCol>
                <a:gridCol w="1749453">
                  <a:extLst>
                    <a:ext uri="{9D8B030D-6E8A-4147-A177-3AD203B41FA5}">
                      <a16:colId xmlns:a16="http://schemas.microsoft.com/office/drawing/2014/main" val="3018412589"/>
                    </a:ext>
                  </a:extLst>
                </a:gridCol>
                <a:gridCol w="1749453">
                  <a:extLst>
                    <a:ext uri="{9D8B030D-6E8A-4147-A177-3AD203B41FA5}">
                      <a16:colId xmlns:a16="http://schemas.microsoft.com/office/drawing/2014/main" val="28381585"/>
                    </a:ext>
                  </a:extLst>
                </a:gridCol>
              </a:tblGrid>
              <a:tr h="342516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217747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D-L1 IC+ </a:t>
                      </a:r>
                      <a:r>
                        <a:rPr lang="cs-CZ" sz="16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opulace</a:t>
                      </a:r>
                      <a:endParaRPr kumimoji="0" lang="en-US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953A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1719263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baseline="30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56661"/>
                  </a:ext>
                </a:extLst>
              </a:tr>
              <a:tr h="61638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1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GB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GB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1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klitaxel</a:t>
                      </a:r>
                      <a:endParaRPr lang="en-GB" sz="1100" b="1" i="0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</a:t>
                      </a:r>
                      <a:r>
                        <a:rPr lang="cs-CZ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5</a:t>
                      </a:r>
                      <a:r>
                        <a:rPr lang="en-GB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100" b="1" i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7318" marR="57318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1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cebo</a:t>
                      </a: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klitaxel</a:t>
                      </a:r>
                      <a:endParaRPr lang="en-US" sz="1100" b="1" i="0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</a:t>
                      </a:r>
                      <a:r>
                        <a:rPr lang="cs-CZ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4</a:t>
                      </a: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100" b="1" i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7318" marR="57318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865693"/>
                  </a:ext>
                </a:extLst>
              </a:tr>
              <a:tr h="343683">
                <a:tc>
                  <a:txBody>
                    <a:bodyPr/>
                    <a:lstStyle/>
                    <a:p>
                      <a:pPr marL="67945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Četnost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OS, n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20 (65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39 (76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46852"/>
                  </a:ext>
                </a:extLst>
              </a:tr>
              <a:tr h="597710">
                <a:tc>
                  <a:txBody>
                    <a:bodyPr/>
                    <a:lstStyle/>
                    <a:p>
                      <a:pPr marL="60325" marR="0" indent="0" algn="l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tratifikované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HR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(95% CI)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.67 (0.53, 0.86)</a:t>
                      </a:r>
                      <a:r>
                        <a:rPr lang="en-US" sz="1600" baseline="300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286385" marR="0" algn="l">
                        <a:lnSpc>
                          <a:spcPts val="116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77326824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02BE805B-0989-451D-B471-FB3598779E69}"/>
              </a:ext>
            </a:extLst>
          </p:cNvPr>
          <p:cNvSpPr txBox="1"/>
          <p:nvPr/>
        </p:nvSpPr>
        <p:spPr>
          <a:xfrm>
            <a:off x="8386619" y="6258757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991FE7E-4647-48BE-8DCE-2057C5845B0E}"/>
              </a:ext>
            </a:extLst>
          </p:cNvPr>
          <p:cNvGrpSpPr/>
          <p:nvPr/>
        </p:nvGrpSpPr>
        <p:grpSpPr>
          <a:xfrm>
            <a:off x="1" y="2179008"/>
            <a:ext cx="8394151" cy="3873688"/>
            <a:chOff x="0" y="1634256"/>
            <a:chExt cx="6295613" cy="290526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E6F0BDA-C067-4543-A673-BE574F7E4021}"/>
                </a:ext>
              </a:extLst>
            </p:cNvPr>
            <p:cNvSpPr txBox="1"/>
            <p:nvPr/>
          </p:nvSpPr>
          <p:spPr>
            <a:xfrm>
              <a:off x="2422128" y="3230316"/>
              <a:ext cx="927177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609585"/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17.9 </a:t>
              </a:r>
              <a:r>
                <a:rPr lang="en-US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</a:t>
              </a: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/>
              </a:r>
              <a:b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</a:b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13.6, 20.3)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8657324-2429-4FB7-8C36-9133647945A5}"/>
                </a:ext>
              </a:extLst>
            </p:cNvPr>
            <p:cNvSpPr txBox="1"/>
            <p:nvPr/>
          </p:nvSpPr>
          <p:spPr>
            <a:xfrm>
              <a:off x="4009531" y="3230316"/>
              <a:ext cx="927177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25.4 </a:t>
              </a:r>
              <a:r>
                <a:rPr lang="en-US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</a:t>
              </a: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/>
              </a:r>
              <a:b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</a:b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19.6, 30.7)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4D051D4-DF69-4D3C-9488-6B7F6DCD2F29}"/>
                </a:ext>
              </a:extLst>
            </p:cNvPr>
            <p:cNvSpPr txBox="1"/>
            <p:nvPr/>
          </p:nvSpPr>
          <p:spPr>
            <a:xfrm>
              <a:off x="5017378" y="2412982"/>
              <a:ext cx="127823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3-</a:t>
              </a:r>
              <a:r>
                <a:rPr lang="cs-CZ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roční</a:t>
              </a:r>
              <a:r>
                <a:rPr lang="en-US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S: 36%</a:t>
              </a:r>
              <a:endParaRPr lang="en-US" sz="1467" dirty="0">
                <a:solidFill>
                  <a:srgbClr val="4D64A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BDF3087-C3DD-4EDD-A294-6A65629671EF}"/>
                </a:ext>
              </a:extLst>
            </p:cNvPr>
            <p:cNvSpPr txBox="1"/>
            <p:nvPr/>
          </p:nvSpPr>
          <p:spPr>
            <a:xfrm>
              <a:off x="3409913" y="3975128"/>
              <a:ext cx="1463040" cy="16158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lvl="0"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cs-CZ" sz="14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ba</a:t>
              </a:r>
              <a:r>
                <a:rPr lang="en-GB" sz="14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m</a:t>
              </a:r>
              <a:r>
                <a:rPr lang="cs-CZ" sz="14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ěsíce</a:t>
              </a:r>
              <a:r>
                <a:rPr lang="en-GB" sz="14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31B272F-98AA-4677-825A-EE211757DDBC}"/>
                </a:ext>
              </a:extLst>
            </p:cNvPr>
            <p:cNvSpPr txBox="1"/>
            <p:nvPr/>
          </p:nvSpPr>
          <p:spPr>
            <a:xfrm rot="16200000">
              <a:off x="459167" y="2281113"/>
              <a:ext cx="1463040" cy="16932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 defTabSz="1219170">
                <a:defRPr/>
              </a:pPr>
              <a:r>
                <a:rPr lang="cs-CZ" sz="1467" b="1" kern="0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Celkové přežití (%)</a:t>
              </a:r>
              <a:endParaRPr lang="en-US" sz="1467" b="1" kern="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83AA91E-9FB9-483B-B3F1-34DA5842A898}"/>
                </a:ext>
              </a:extLst>
            </p:cNvPr>
            <p:cNvSpPr txBox="1"/>
            <p:nvPr/>
          </p:nvSpPr>
          <p:spPr>
            <a:xfrm>
              <a:off x="5017378" y="3330280"/>
              <a:ext cx="127823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3-</a:t>
              </a:r>
              <a:r>
                <a:rPr lang="cs-CZ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roční</a:t>
              </a:r>
              <a:r>
                <a:rPr lang="en-US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S: 22%</a:t>
              </a:r>
              <a:endParaRPr lang="en-US" sz="1467" dirty="0">
                <a:solidFill>
                  <a:srgbClr val="ED1C24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BE7EEAE-4E31-4427-9BBF-733C17C3A2AC}"/>
                </a:ext>
              </a:extLst>
            </p:cNvPr>
            <p:cNvSpPr txBox="1"/>
            <p:nvPr/>
          </p:nvSpPr>
          <p:spPr>
            <a:xfrm>
              <a:off x="1719445" y="3017656"/>
              <a:ext cx="163770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609585"/>
              <a:r>
                <a:rPr lang="en-US" sz="1600" b="1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edi</a:t>
              </a:r>
              <a:r>
                <a:rPr lang="cs-CZ" sz="1600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á</a:t>
              </a:r>
              <a:r>
                <a:rPr lang="en-US" sz="1600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 </a:t>
              </a:r>
              <a:r>
                <a:rPr lang="en-US" sz="1600" b="1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S (95% CI):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FDB2463F-B989-4E22-9919-52D5CEE0D01A}"/>
                </a:ext>
              </a:extLst>
            </p:cNvPr>
            <p:cNvSpPr txBox="1"/>
            <p:nvPr/>
          </p:nvSpPr>
          <p:spPr>
            <a:xfrm>
              <a:off x="0" y="3939502"/>
              <a:ext cx="1457873" cy="6000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 defTabSz="1219170">
                <a:defRPr/>
              </a:pPr>
              <a:r>
                <a:rPr lang="en-GB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čet pacientů v riziku:</a:t>
              </a:r>
              <a:endParaRPr lang="en-GB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defTabSz="1219170">
                <a:defRPr/>
              </a:pPr>
              <a:endParaRPr lang="cs-CZ" sz="1333" kern="0" dirty="0" smtClean="0">
                <a:solidFill>
                  <a:srgbClr val="4D64A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algn="r" defTabSz="1219170">
                <a:defRPr/>
              </a:pPr>
              <a:r>
                <a:rPr lang="en-US" sz="1333" kern="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 </a:t>
              </a:r>
              <a:r>
                <a:rPr lang="en-US" sz="1333" kern="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+ </a:t>
              </a:r>
              <a:r>
                <a:rPr lang="en-US" sz="1333" kern="0" dirty="0" err="1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endParaRPr lang="en-US" sz="1333" kern="0" dirty="0">
                <a:solidFill>
                  <a:srgbClr val="4D64A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algn="r" defTabSz="1219170">
                <a:defRPr/>
              </a:pPr>
              <a:r>
                <a:rPr lang="en-US" sz="1333" kern="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 + </a:t>
              </a:r>
              <a:r>
                <a:rPr lang="en-US" sz="1333" kern="0" dirty="0" err="1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endParaRPr lang="en-US" sz="1333" kern="0" dirty="0">
                <a:solidFill>
                  <a:srgbClr val="ED1C24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22" name="TextovéPole 15"/>
          <p:cNvSpPr txBox="1"/>
          <p:nvPr/>
        </p:nvSpPr>
        <p:spPr>
          <a:xfrm>
            <a:off x="163124" y="1301505"/>
            <a:ext cx="1537344" cy="246221"/>
          </a:xfrm>
          <a:prstGeom prst="rect">
            <a:avLst/>
          </a:prstGeom>
          <a:noFill/>
          <a:ln w="19050">
            <a:solidFill>
              <a:srgbClr val="6E295B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inální</a:t>
            </a:r>
            <a:r>
              <a:rPr kumimoji="0" lang="cs-CZ" sz="1000" b="1" i="0" u="none" strike="noStrike" kern="0" cap="none" spc="0" normalizeH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cs-CZ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nalýza</a:t>
            </a:r>
          </a:p>
        </p:txBody>
      </p:sp>
      <p:pic>
        <p:nvPicPr>
          <p:cNvPr id="24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5" name="Obdélník 1"/>
          <p:cNvSpPr/>
          <p:nvPr/>
        </p:nvSpPr>
        <p:spPr>
          <a:xfrm rot="16200000">
            <a:off x="11632206" y="3512587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261843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8BACFED0-16B9-4016-8508-1DD3ABA7D1B5}"/>
              </a:ext>
            </a:extLst>
          </p:cNvPr>
          <p:cNvGrpSpPr/>
          <p:nvPr/>
        </p:nvGrpSpPr>
        <p:grpSpPr>
          <a:xfrm>
            <a:off x="0" y="792481"/>
            <a:ext cx="11378347" cy="5855748"/>
            <a:chOff x="-5167" y="594360"/>
            <a:chExt cx="8533760" cy="4391811"/>
          </a:xfrm>
        </p:grpSpPr>
        <p:pic>
          <p:nvPicPr>
            <p:cNvPr id="8" name="Picture 7" descr="A picture containing dark, lit, monitor, light&#10;&#10;Description automatically generated">
              <a:extLst>
                <a:ext uri="{FF2B5EF4-FFF2-40B4-BE49-F238E27FC236}">
                  <a16:creationId xmlns:a16="http://schemas.microsoft.com/office/drawing/2014/main" id="{C9D236BE-FC12-420E-8D6B-5EAFD78650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696"/>
            <a:stretch/>
          </p:blipFill>
          <p:spPr>
            <a:xfrm>
              <a:off x="0" y="594360"/>
              <a:ext cx="8282867" cy="4391811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A6F58D58-E617-4935-8E69-7E5C73998575}"/>
                </a:ext>
              </a:extLst>
            </p:cNvPr>
            <p:cNvSpPr txBox="1"/>
            <p:nvPr/>
          </p:nvSpPr>
          <p:spPr>
            <a:xfrm>
              <a:off x="3241944" y="1717380"/>
              <a:ext cx="146290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GB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 + </a:t>
              </a:r>
              <a:r>
                <a:rPr lang="en-GB" sz="1600" dirty="0" err="1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GB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(PD-L1 IC+)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FDB49DB-B55A-4991-89D6-7C886AA5F844}"/>
                </a:ext>
              </a:extLst>
            </p:cNvPr>
            <p:cNvSpPr txBox="1"/>
            <p:nvPr/>
          </p:nvSpPr>
          <p:spPr>
            <a:xfrm>
              <a:off x="6886648" y="3115352"/>
              <a:ext cx="1458091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GB" sz="1600" dirty="0">
                  <a:solidFill>
                    <a:srgbClr val="819FC5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 + </a:t>
              </a:r>
              <a:r>
                <a:rPr lang="en-GB" sz="1600" dirty="0" err="1">
                  <a:solidFill>
                    <a:srgbClr val="819FC5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GB" sz="1600" dirty="0">
                  <a:solidFill>
                    <a:srgbClr val="819FC5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(PD-L1 IC–)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194DB9E-F65B-4400-8F50-F59C1161774C}"/>
                </a:ext>
              </a:extLst>
            </p:cNvPr>
            <p:cNvSpPr txBox="1"/>
            <p:nvPr/>
          </p:nvSpPr>
          <p:spPr>
            <a:xfrm>
              <a:off x="1877827" y="2406225"/>
              <a:ext cx="146862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GB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 + </a:t>
              </a:r>
              <a:r>
                <a:rPr lang="en-GB" sz="1600" dirty="0" err="1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GB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(PD-L1 IC+)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F26F8E6-DEFB-4319-8B94-7FE77E97CEE5}"/>
                </a:ext>
              </a:extLst>
            </p:cNvPr>
            <p:cNvSpPr txBox="1"/>
            <p:nvPr/>
          </p:nvSpPr>
          <p:spPr>
            <a:xfrm>
              <a:off x="7064778" y="3369446"/>
              <a:ext cx="146381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GB" sz="1600" dirty="0">
                  <a:solidFill>
                    <a:srgbClr val="F1717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 + </a:t>
              </a:r>
              <a:r>
                <a:rPr lang="en-GB" sz="1600" dirty="0" err="1">
                  <a:solidFill>
                    <a:srgbClr val="F1717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GB" sz="1600" dirty="0">
                  <a:solidFill>
                    <a:srgbClr val="F1717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(PD-L1 IC–)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5FF5D7B-8450-4D2A-B711-6EA2CAE7E8A1}"/>
                </a:ext>
              </a:extLst>
            </p:cNvPr>
            <p:cNvSpPr txBox="1"/>
            <p:nvPr/>
          </p:nvSpPr>
          <p:spPr>
            <a:xfrm>
              <a:off x="-5167" y="4083516"/>
              <a:ext cx="1463040" cy="75386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 defTabSz="1219170">
                <a:defRPr/>
              </a:pPr>
              <a:r>
                <a:rPr lang="en-US" sz="1200" b="1" kern="0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o. at risk </a:t>
              </a:r>
              <a:br>
                <a:rPr lang="en-US" sz="1200" b="1" kern="0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</a:br>
              <a:r>
                <a:rPr lang="en-US" sz="1333" kern="0" dirty="0">
                  <a:solidFill>
                    <a:srgbClr val="2C4A8C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 + </a:t>
              </a:r>
              <a:r>
                <a:rPr lang="en-US" sz="1333" kern="0" dirty="0" err="1">
                  <a:solidFill>
                    <a:srgbClr val="2C4A8C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US" sz="1200" kern="0" dirty="0">
                  <a:solidFill>
                    <a:srgbClr val="2C4A8C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(PD-L1 IC+)</a:t>
              </a:r>
            </a:p>
            <a:p>
              <a:pPr algn="r" defTabSz="1219170">
                <a:defRPr/>
              </a:pPr>
              <a:r>
                <a:rPr lang="en-US" sz="1333" kern="0" dirty="0">
                  <a:solidFill>
                    <a:srgbClr val="7AA6CF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 + </a:t>
              </a:r>
              <a:r>
                <a:rPr lang="en-US" sz="1333" kern="0" dirty="0" err="1">
                  <a:solidFill>
                    <a:srgbClr val="7AA6CF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US" sz="1333" kern="0" dirty="0">
                  <a:solidFill>
                    <a:srgbClr val="7AA6CF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200" kern="0" dirty="0">
                  <a:solidFill>
                    <a:srgbClr val="7AA6CF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PD-L1 IC–)</a:t>
              </a:r>
            </a:p>
            <a:p>
              <a:pPr algn="r" defTabSz="1219170">
                <a:defRPr/>
              </a:pPr>
              <a:r>
                <a:rPr lang="en-US" sz="1333" kern="0" dirty="0">
                  <a:solidFill>
                    <a:srgbClr val="C0000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 + </a:t>
              </a:r>
              <a:r>
                <a:rPr lang="en-US" sz="1333" kern="0" dirty="0" err="1">
                  <a:solidFill>
                    <a:srgbClr val="C0000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US" sz="1333" kern="0" dirty="0">
                  <a:solidFill>
                    <a:srgbClr val="C0000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200" kern="0" dirty="0">
                  <a:solidFill>
                    <a:srgbClr val="C0000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PD-L1 IC+)</a:t>
              </a:r>
            </a:p>
            <a:p>
              <a:pPr algn="r" defTabSz="1219170">
                <a:defRPr/>
              </a:pPr>
              <a:r>
                <a:rPr lang="en-US" sz="1333" kern="0" dirty="0">
                  <a:solidFill>
                    <a:srgbClr val="F394A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 + </a:t>
              </a:r>
              <a:r>
                <a:rPr lang="en-US" sz="1333" kern="0" dirty="0" err="1">
                  <a:solidFill>
                    <a:srgbClr val="F394A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US" sz="1333" kern="0" dirty="0">
                  <a:solidFill>
                    <a:srgbClr val="F394A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200" kern="0" dirty="0">
                  <a:solidFill>
                    <a:srgbClr val="F394A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PD-L1 IC–)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00F70F6-EEAD-4A05-935B-70B04353E91A}"/>
                </a:ext>
              </a:extLst>
            </p:cNvPr>
            <p:cNvSpPr txBox="1"/>
            <p:nvPr/>
          </p:nvSpPr>
          <p:spPr>
            <a:xfrm>
              <a:off x="3409913" y="3975128"/>
              <a:ext cx="1463040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lvl="0"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cs-CZ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ba</a:t>
              </a:r>
              <a:r>
                <a:rPr lang="en-GB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m</a:t>
              </a:r>
              <a:r>
                <a:rPr lang="cs-CZ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ěsíce</a:t>
              </a:r>
              <a:r>
                <a:rPr lang="en-GB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84B638C-0849-4524-97CB-3B284CE6BA4E}"/>
                </a:ext>
              </a:extLst>
            </p:cNvPr>
            <p:cNvSpPr txBox="1"/>
            <p:nvPr/>
          </p:nvSpPr>
          <p:spPr>
            <a:xfrm rot="16200000">
              <a:off x="459167" y="2281113"/>
              <a:ext cx="1463040" cy="16932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 defTabSz="1219170">
                <a:defRPr/>
              </a:pPr>
              <a:r>
                <a:rPr lang="cs-CZ" sz="1467" b="1" kern="0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Celkové přežití (%)</a:t>
              </a:r>
              <a:endParaRPr lang="en-US" sz="1467" b="1" kern="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7F384EE-0A3B-4F6B-B657-0D276A175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u="sng" dirty="0">
                <a:solidFill>
                  <a:srgbClr val="6E295B"/>
                </a:solidFill>
                <a:latin typeface="Arial"/>
              </a:rPr>
              <a:t>Finální analýza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/>
            </a:r>
            <a:b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</a:b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Porovnání</a:t>
            </a:r>
            <a:r>
              <a:rPr lang="en-GB" sz="2600" dirty="0" smtClean="0">
                <a:solidFill>
                  <a:srgbClr val="6E295B"/>
                </a:solidFill>
                <a:latin typeface="Arial"/>
                <a:ea typeface="+mj-ea"/>
              </a:rPr>
              <a:t> </a:t>
            </a:r>
            <a:r>
              <a:rPr lang="en-GB" sz="2600" dirty="0">
                <a:solidFill>
                  <a:srgbClr val="6E295B"/>
                </a:solidFill>
                <a:latin typeface="Arial"/>
                <a:ea typeface="+mj-ea"/>
              </a:rPr>
              <a:t>OS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v</a:t>
            </a:r>
            <a:r>
              <a:rPr lang="en-GB" sz="2600" dirty="0" smtClean="0">
                <a:solidFill>
                  <a:srgbClr val="6E295B"/>
                </a:solidFill>
                <a:latin typeface="Arial"/>
                <a:ea typeface="+mj-ea"/>
              </a:rPr>
              <a:t> </a:t>
            </a:r>
            <a:r>
              <a:rPr lang="en-GB" sz="2600" dirty="0">
                <a:solidFill>
                  <a:srgbClr val="6E295B"/>
                </a:solidFill>
                <a:latin typeface="Arial"/>
                <a:ea typeface="+mj-ea"/>
              </a:rPr>
              <a:t>PD-L1+ a PD-L1−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populaci</a:t>
            </a:r>
            <a:endParaRPr lang="en-GB" strike="sngStrik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778AD1-6C4C-4B55-84EE-A85AFA582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Data </a:t>
            </a:r>
            <a:r>
              <a:rPr lang="en-US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cut</a:t>
            </a:r>
            <a:r>
              <a:rPr lang="cs-CZ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-</a:t>
            </a:r>
            <a:r>
              <a:rPr lang="en-US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off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, 14 April 2020. </a:t>
            </a:r>
            <a:endParaRPr lang="en-GB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2BE805B-0989-451D-B471-FB3598779E69}"/>
              </a:ext>
            </a:extLst>
          </p:cNvPr>
          <p:cNvSpPr txBox="1"/>
          <p:nvPr/>
        </p:nvSpPr>
        <p:spPr>
          <a:xfrm>
            <a:off x="8386619" y="6258757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10C876A-2248-4F0F-BA16-E3DB607DCE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4808485"/>
              </p:ext>
            </p:extLst>
          </p:nvPr>
        </p:nvGraphicFramePr>
        <p:xfrm>
          <a:off x="6403556" y="1325537"/>
          <a:ext cx="5311036" cy="1499616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2023872">
                  <a:extLst>
                    <a:ext uri="{9D8B030D-6E8A-4147-A177-3AD203B41FA5}">
                      <a16:colId xmlns:a16="http://schemas.microsoft.com/office/drawing/2014/main" val="2380695724"/>
                    </a:ext>
                  </a:extLst>
                </a:gridCol>
                <a:gridCol w="821791">
                  <a:extLst>
                    <a:ext uri="{9D8B030D-6E8A-4147-A177-3AD203B41FA5}">
                      <a16:colId xmlns:a16="http://schemas.microsoft.com/office/drawing/2014/main" val="3018412589"/>
                    </a:ext>
                  </a:extLst>
                </a:gridCol>
                <a:gridCol w="821791">
                  <a:extLst>
                    <a:ext uri="{9D8B030D-6E8A-4147-A177-3AD203B41FA5}">
                      <a16:colId xmlns:a16="http://schemas.microsoft.com/office/drawing/2014/main" val="324392100"/>
                    </a:ext>
                  </a:extLst>
                </a:gridCol>
                <a:gridCol w="821791">
                  <a:extLst>
                    <a:ext uri="{9D8B030D-6E8A-4147-A177-3AD203B41FA5}">
                      <a16:colId xmlns:a16="http://schemas.microsoft.com/office/drawing/2014/main" val="28381585"/>
                    </a:ext>
                  </a:extLst>
                </a:gridCol>
                <a:gridCol w="821791">
                  <a:extLst>
                    <a:ext uri="{9D8B030D-6E8A-4147-A177-3AD203B41FA5}">
                      <a16:colId xmlns:a16="http://schemas.microsoft.com/office/drawing/2014/main" val="908196596"/>
                    </a:ext>
                  </a:extLst>
                </a:gridCol>
              </a:tblGrid>
              <a:tr h="365760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D-L1 IC+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415" marR="0" lvl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8415" marR="0" lvl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D-L1 IC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415" marR="0" lvl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7864617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+ </a:t>
                      </a:r>
                      <a:r>
                        <a:rPr lang="en-US" sz="16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</a:t>
                      </a:r>
                      <a:r>
                        <a:rPr lang="en-US" sz="16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</a:t>
                      </a:r>
                      <a:endParaRPr lang="en-US" sz="1600" b="1" baseline="30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+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</a:t>
                      </a:r>
                      <a:endParaRPr lang="en-US" sz="1600" b="1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3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56661"/>
                  </a:ext>
                </a:extLst>
              </a:tr>
              <a:tr h="280416">
                <a:tc>
                  <a:txBody>
                    <a:bodyPr/>
                    <a:lstStyle/>
                    <a:p>
                      <a:pPr marL="67945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edián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OS</a:t>
                      </a:r>
                      <a:r>
                        <a:rPr lang="cs-CZ" sz="1600" b="1" baseline="0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(měsíce)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5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7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415" marR="0" lvl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9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9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3917571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pPr marL="60325" marR="0" indent="0" algn="l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tratifikované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HR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(95% CI)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.67 (0.53, 0.86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.02 (0.84, 1.24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6804034"/>
                  </a:ext>
                </a:extLst>
              </a:tr>
            </a:tbl>
          </a:graphicData>
        </a:graphic>
      </p:graphicFrame>
      <p:sp>
        <p:nvSpPr>
          <p:cNvPr id="16" name="TextovéPole 15"/>
          <p:cNvSpPr txBox="1"/>
          <p:nvPr/>
        </p:nvSpPr>
        <p:spPr>
          <a:xfrm>
            <a:off x="163124" y="1301505"/>
            <a:ext cx="1537344" cy="246221"/>
          </a:xfrm>
          <a:prstGeom prst="rect">
            <a:avLst/>
          </a:prstGeom>
          <a:noFill/>
          <a:ln w="19050">
            <a:solidFill>
              <a:srgbClr val="6E295B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inální</a:t>
            </a:r>
            <a:r>
              <a:rPr kumimoji="0" lang="cs-CZ" sz="1000" b="1" i="0" u="none" strike="noStrike" kern="0" cap="none" spc="0" normalizeH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cs-CZ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nalýza</a:t>
            </a:r>
          </a:p>
        </p:txBody>
      </p:sp>
      <p:pic>
        <p:nvPicPr>
          <p:cNvPr id="26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7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054260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A23B858-6F1D-48C1-B4E0-20FE1809A0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474913"/>
              </p:ext>
            </p:extLst>
          </p:nvPr>
        </p:nvGraphicFramePr>
        <p:xfrm>
          <a:off x="341819" y="1396897"/>
          <a:ext cx="11399680" cy="43675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142771067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102351377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940701411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2674083965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639973082"/>
                    </a:ext>
                  </a:extLst>
                </a:gridCol>
                <a:gridCol w="2621280">
                  <a:extLst>
                    <a:ext uri="{9D8B030D-6E8A-4147-A177-3AD203B41FA5}">
                      <a16:colId xmlns:a16="http://schemas.microsoft.com/office/drawing/2014/main" val="2855965170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2258176155"/>
                    </a:ext>
                  </a:extLst>
                </a:gridCol>
                <a:gridCol w="1524160">
                  <a:extLst>
                    <a:ext uri="{9D8B030D-6E8A-4147-A177-3AD203B41FA5}">
                      <a16:colId xmlns:a16="http://schemas.microsoft.com/office/drawing/2014/main" val="3412103145"/>
                    </a:ext>
                  </a:extLst>
                </a:gridCol>
                <a:gridCol w="2865120">
                  <a:extLst>
                    <a:ext uri="{9D8B030D-6E8A-4147-A177-3AD203B41FA5}">
                      <a16:colId xmlns:a16="http://schemas.microsoft.com/office/drawing/2014/main" val="1580109848"/>
                    </a:ext>
                  </a:extLst>
                </a:gridCol>
              </a:tblGrid>
              <a:tr h="243840">
                <a:tc gridSpan="2"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500" b="1" i="0" u="sng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1500" u="sng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175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i="0" u="sng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 HR (95% CI)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175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1" i="0" u="sng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500" b="1" i="0" u="sng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1500" u="sng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175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i="0" u="sng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 HR (95% CI)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175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1" i="0" u="sng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657183"/>
                  </a:ext>
                </a:extLst>
              </a:tr>
              <a:tr h="172720">
                <a:tc gridSpan="2"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en-GB" sz="13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3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šichni</a:t>
                      </a:r>
                      <a:endParaRPr lang="en-GB" sz="13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3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2</a:t>
                      </a:r>
                      <a:endParaRPr lang="en-GB" sz="13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8 (0.76, 1.03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9 (0.54, 0.88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3306112"/>
                  </a:ext>
                </a:extLst>
              </a:tr>
              <a:tr h="172720">
                <a:tc gridSpan="2"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ěk</a:t>
                      </a: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2761385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-40 </a:t>
                      </a:r>
                      <a:r>
                        <a:rPr lang="cs-CZ" sz="13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t</a:t>
                      </a: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7 (0.52, 1.15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6 (0.36, 1.19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7113863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-64 </a:t>
                      </a:r>
                      <a:r>
                        <a:rPr lang="cs-CZ" sz="13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t</a:t>
                      </a: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8 (0.73, 1.07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8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0 (0.51, 0.96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3051352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≥ 65 </a:t>
                      </a:r>
                      <a:r>
                        <a:rPr lang="cs-CZ" sz="13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t</a:t>
                      </a: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92 (0.67, 1.26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7 (0.40, 1.13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4561289"/>
                  </a:ext>
                </a:extLst>
              </a:tr>
              <a:tr h="172720">
                <a:tc gridSpan="2"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</a:t>
                      </a:r>
                      <a:r>
                        <a:rPr lang="cs-CZ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</a:t>
                      </a: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1688217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cs-CZ" sz="13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ěloši</a:t>
                      </a: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2 (0.69, 0.99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4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4 (0.48, 0.86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633525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GB" sz="1300" b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i</a:t>
                      </a:r>
                      <a:r>
                        <a:rPr lang="cs-CZ" sz="13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é</a:t>
                      </a: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1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6 (0.79, 1.72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0 (0.60, 2.02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5580990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cs-CZ" sz="1300" b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froameričané</a:t>
                      </a:r>
                      <a:endParaRPr lang="en-GB" sz="1300" b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endParaRPr lang="en-GB" sz="1300" b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b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5 (0.46, 1.59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2 (0.06, 0.83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664208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5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</a:t>
                      </a:r>
                      <a:r>
                        <a:rPr lang="cs-CZ" sz="1300" b="0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atní</a:t>
                      </a: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19 (0.71, 1.99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22 (0.52, 2.89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4968697"/>
                  </a:ext>
                </a:extLst>
              </a:tr>
              <a:tr h="172720">
                <a:tc gridSpan="2">
                  <a:txBody>
                    <a:bodyPr/>
                    <a:lstStyle/>
                    <a:p>
                      <a:pPr marL="0" marR="0" lvl="0" indent="0" algn="l" defTabSz="779175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COG </a:t>
                      </a:r>
                      <a:r>
                        <a:rPr lang="en-GB" sz="1300" b="1" i="0" u="none" strike="noStrike" kern="1200" noProof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S</a:t>
                      </a:r>
                      <a:r>
                        <a:rPr lang="en-GB" sz="1300" b="1" i="0" u="none" strike="noStrike" kern="1200" baseline="30000" noProof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endParaRPr lang="en-GB" sz="1300" b="1" i="0" u="none" strike="noStrike" kern="1200" baseline="300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1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Imago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175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8645987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GB" sz="13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b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6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4 (0.68, 1.03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9 (0.50, 0.96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0705149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2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9 (0.71, 1.12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3 (0.44, 0.92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346444"/>
                  </a:ext>
                </a:extLst>
              </a:tr>
              <a:tr h="172720">
                <a:tc gridSpan="3"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ředchozí léčba taxany</a:t>
                      </a:r>
                      <a:r>
                        <a:rPr lang="en-GB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/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0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626020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r>
                        <a:rPr lang="cs-CZ" sz="13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o</a:t>
                      </a: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1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94 (0.77, 1.16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0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3 (0.59, 1.15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8845788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r>
                        <a:rPr lang="en-GB" sz="13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3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1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1 (0.65, 1.02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55 (0.38, 0.80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53206"/>
                  </a:ext>
                </a:extLst>
              </a:tr>
              <a:tr h="172720"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aterní metastázy</a:t>
                      </a: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lnSpc>
                          <a:spcPct val="85000"/>
                        </a:lnSpc>
                      </a:pPr>
                      <a:endParaRPr lang="en-GB" sz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0395622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r>
                        <a:rPr lang="cs-CZ" sz="13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o</a:t>
                      </a: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85000"/>
                        </a:lnSpc>
                      </a:pPr>
                      <a:r>
                        <a:rPr lang="en-GB" sz="13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4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2 (0.62, 1.07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5 (0.40, 1.05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3741649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r>
                        <a:rPr lang="en-GB" sz="13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3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85000"/>
                        </a:lnSpc>
                      </a:pPr>
                      <a:r>
                        <a:rPr lang="en-GB" sz="13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8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9 (0.74, 1.07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6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8 (0.51, 0.91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119062"/>
                  </a:ext>
                </a:extLst>
              </a:tr>
              <a:tr h="172720">
                <a:tc gridSpan="2"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D-L1 </a:t>
                      </a:r>
                      <a:r>
                        <a:rPr lang="en-GB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C</a:t>
                      </a: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9295735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ativ</a:t>
                      </a:r>
                      <a:r>
                        <a:rPr lang="cs-CZ" sz="1300" b="0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í</a:t>
                      </a: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3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05 (0.87, 1.28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6467288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GB" sz="13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</a:t>
                      </a:r>
                      <a:r>
                        <a:rPr lang="cs-CZ" sz="13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itiv</a:t>
                      </a:r>
                      <a:r>
                        <a:rPr lang="cs-CZ" sz="1300" b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í</a:t>
                      </a: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85000"/>
                        </a:lnSpc>
                      </a:pPr>
                      <a:r>
                        <a:rPr lang="en-GB" sz="13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9 (0.54, 0.88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725938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7F384EE-0A3B-4F6B-B657-0D276A175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819" y="202971"/>
            <a:ext cx="11361119" cy="991867"/>
          </a:xfrm>
        </p:spPr>
        <p:txBody>
          <a:bodyPr/>
          <a:lstStyle/>
          <a:p>
            <a:r>
              <a:rPr lang="cs-CZ" sz="2600" u="sng" dirty="0">
                <a:solidFill>
                  <a:srgbClr val="6E295B"/>
                </a:solidFill>
                <a:latin typeface="Arial"/>
              </a:rPr>
              <a:t>Finální </a:t>
            </a:r>
            <a:r>
              <a:rPr lang="cs-CZ" sz="2600" u="sng" dirty="0" smtClean="0">
                <a:solidFill>
                  <a:srgbClr val="6E295B"/>
                </a:solidFill>
                <a:latin typeface="Arial"/>
              </a:rPr>
              <a:t>analýza</a:t>
            </a:r>
            <a:r>
              <a:rPr lang="cs-CZ" sz="2600" dirty="0" smtClean="0">
                <a:solidFill>
                  <a:srgbClr val="6E295B"/>
                </a:solidFill>
                <a:latin typeface="Arial"/>
              </a:rPr>
              <a:t>- Porovnání</a:t>
            </a:r>
            <a:r>
              <a:rPr lang="en-GB" sz="2600" dirty="0" smtClean="0">
                <a:solidFill>
                  <a:srgbClr val="6E295B"/>
                </a:solidFill>
                <a:latin typeface="Arial"/>
              </a:rPr>
              <a:t> </a:t>
            </a:r>
            <a:r>
              <a:rPr lang="en-GB" sz="2600" dirty="0">
                <a:solidFill>
                  <a:srgbClr val="6E295B"/>
                </a:solidFill>
                <a:latin typeface="Arial"/>
              </a:rPr>
              <a:t>OS </a:t>
            </a:r>
            <a:r>
              <a:rPr lang="cs-CZ" sz="2600" dirty="0" smtClean="0">
                <a:solidFill>
                  <a:srgbClr val="6E295B"/>
                </a:solidFill>
                <a:latin typeface="Arial"/>
              </a:rPr>
              <a:t>v podskupinách pacientů</a:t>
            </a:r>
            <a:endParaRPr lang="en-GB" strike="sngStrike" baseline="300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778AD1-6C4C-4B55-84EE-A85AFA582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Data </a:t>
            </a:r>
            <a:r>
              <a:rPr lang="en-US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cut</a:t>
            </a:r>
            <a:r>
              <a:rPr lang="cs-CZ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-</a:t>
            </a:r>
            <a:r>
              <a:rPr lang="en-US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off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, 14 April 2020. </a:t>
            </a:r>
            <a:b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</a:b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Dashed line refers to all-patient or PD-L1 IC+ HR.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US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a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Patients with PS 2 or missing status (n = 2 each) not shown.</a:t>
            </a:r>
            <a:endParaRPr lang="en-GB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2BE805B-0989-451D-B471-FB3598779E69}"/>
              </a:ext>
            </a:extLst>
          </p:cNvPr>
          <p:cNvSpPr txBox="1"/>
          <p:nvPr/>
        </p:nvSpPr>
        <p:spPr>
          <a:xfrm>
            <a:off x="8685139" y="6413344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AF0C4B6-8F83-4A19-9DDD-46DCFC0FA0BC}"/>
              </a:ext>
            </a:extLst>
          </p:cNvPr>
          <p:cNvCxnSpPr>
            <a:cxnSpLocks/>
          </p:cNvCxnSpPr>
          <p:nvPr/>
        </p:nvCxnSpPr>
        <p:spPr bwMode="auto">
          <a:xfrm>
            <a:off x="8836517" y="6159741"/>
            <a:ext cx="3199377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D618D1B7-1806-4492-B03E-8C2CB41668D8}"/>
              </a:ext>
            </a:extLst>
          </p:cNvPr>
          <p:cNvSpPr txBox="1"/>
          <p:nvPr/>
        </p:nvSpPr>
        <p:spPr>
          <a:xfrm>
            <a:off x="8714439" y="1012939"/>
            <a:ext cx="2669479" cy="336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585" fontAlgn="b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867" b="1" dirty="0">
                <a:solidFill>
                  <a:srgbClr val="830065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D-L1 IC+ </a:t>
            </a:r>
            <a:r>
              <a:rPr lang="cs-CZ" sz="1867" b="1" dirty="0" smtClean="0">
                <a:solidFill>
                  <a:srgbClr val="830065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opulace</a:t>
            </a:r>
            <a:endParaRPr lang="en-GB" sz="1867" b="1" dirty="0">
              <a:solidFill>
                <a:srgbClr val="830065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A75F86A-4631-485F-B74F-E3625F835073}"/>
              </a:ext>
            </a:extLst>
          </p:cNvPr>
          <p:cNvSpPr txBox="1"/>
          <p:nvPr/>
        </p:nvSpPr>
        <p:spPr>
          <a:xfrm>
            <a:off x="4338313" y="1012939"/>
            <a:ext cx="2342455" cy="336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585" eaLnBrk="0" fontAlgn="b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867" b="1" dirty="0">
                <a:solidFill>
                  <a:srgbClr val="830065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TT </a:t>
            </a:r>
            <a:r>
              <a:rPr lang="en-GB" sz="1867" b="1" dirty="0" err="1" smtClean="0">
                <a:solidFill>
                  <a:srgbClr val="830065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opula</a:t>
            </a:r>
            <a:r>
              <a:rPr lang="cs-CZ" sz="1867" b="1" dirty="0" smtClean="0">
                <a:solidFill>
                  <a:srgbClr val="830065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e</a:t>
            </a:r>
            <a:endParaRPr lang="en-GB" sz="1867" b="1" dirty="0">
              <a:solidFill>
                <a:srgbClr val="830065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36A400D-B320-49E2-8633-F84BD0186785}"/>
              </a:ext>
            </a:extLst>
          </p:cNvPr>
          <p:cNvCxnSpPr>
            <a:cxnSpLocks/>
          </p:cNvCxnSpPr>
          <p:nvPr/>
        </p:nvCxnSpPr>
        <p:spPr bwMode="auto">
          <a:xfrm>
            <a:off x="4088957" y="6159741"/>
            <a:ext cx="3048000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620A8F-31E8-40A8-AF62-920FE2D4DF78}"/>
              </a:ext>
            </a:extLst>
          </p:cNvPr>
          <p:cNvCxnSpPr>
            <a:cxnSpLocks/>
          </p:cNvCxnSpPr>
          <p:nvPr/>
        </p:nvCxnSpPr>
        <p:spPr>
          <a:xfrm>
            <a:off x="5477252" y="1685901"/>
            <a:ext cx="0" cy="414528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Content Placeholder 8">
            <a:extLst>
              <a:ext uri="{FF2B5EF4-FFF2-40B4-BE49-F238E27FC236}">
                <a16:creationId xmlns:a16="http://schemas.microsoft.com/office/drawing/2014/main" id="{88C457A6-7DDD-4C45-A14A-618F8D6B5F6F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813596" y="1512496"/>
          <a:ext cx="30480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6142488-9BB8-4035-8089-311E9EAEF9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4159539"/>
              </p:ext>
            </p:extLst>
          </p:nvPr>
        </p:nvGraphicFramePr>
        <p:xfrm>
          <a:off x="4338309" y="6078461"/>
          <a:ext cx="2523286" cy="3169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1643">
                  <a:extLst>
                    <a:ext uri="{9D8B030D-6E8A-4147-A177-3AD203B41FA5}">
                      <a16:colId xmlns:a16="http://schemas.microsoft.com/office/drawing/2014/main" val="3747163336"/>
                    </a:ext>
                  </a:extLst>
                </a:gridCol>
                <a:gridCol w="1261643">
                  <a:extLst>
                    <a:ext uri="{9D8B030D-6E8A-4147-A177-3AD203B41FA5}">
                      <a16:colId xmlns:a16="http://schemas.microsoft.com/office/drawing/2014/main" val="665173379"/>
                    </a:ext>
                  </a:extLst>
                </a:gridCol>
              </a:tblGrid>
              <a:tr h="27789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u="none" strike="noStrike" noProof="0" dirty="0" smtClean="0">
                          <a:solidFill>
                            <a:srgbClr val="2C4A8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cs-CZ" sz="1300" b="1" i="0" u="none" strike="noStrike" noProof="0" dirty="0" smtClean="0">
                          <a:solidFill>
                            <a:srgbClr val="2C4A8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zolizumab   </a:t>
                      </a:r>
                      <a:r>
                        <a:rPr lang="cs-CZ" sz="1300" b="1" i="0" u="none" strike="noStrike" baseline="0" noProof="0" dirty="0" smtClean="0">
                          <a:solidFill>
                            <a:srgbClr val="2C4A8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nab-paklitaxel</a:t>
                      </a:r>
                      <a:endParaRPr lang="en-GB" sz="1300" b="1" i="0" u="none" strike="noStrike" noProof="0" dirty="0">
                        <a:solidFill>
                          <a:srgbClr val="2C4A8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en-GB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cebo                        </a:t>
                      </a:r>
                      <a:r>
                        <a:rPr lang="en-GB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n</a:t>
                      </a:r>
                      <a:r>
                        <a:rPr lang="cs-CZ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-paklitaxel</a:t>
                      </a:r>
                      <a:endParaRPr lang="en-GB" sz="1300" b="1" i="0" u="none" strike="noStrike" noProof="0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7134543"/>
                  </a:ext>
                </a:extLst>
              </a:tr>
            </a:tbl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49B603E-4E9B-4EED-A2C3-F9475BFF4BB8}"/>
              </a:ext>
            </a:extLst>
          </p:cNvPr>
          <p:cNvCxnSpPr>
            <a:cxnSpLocks/>
          </p:cNvCxnSpPr>
          <p:nvPr/>
        </p:nvCxnSpPr>
        <p:spPr>
          <a:xfrm>
            <a:off x="10048231" y="1685901"/>
            <a:ext cx="0" cy="414528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B66E5EE-ABE4-43E0-9F78-240F75945D37}"/>
              </a:ext>
            </a:extLst>
          </p:cNvPr>
          <p:cNvSpPr txBox="1"/>
          <p:nvPr/>
        </p:nvSpPr>
        <p:spPr>
          <a:xfrm>
            <a:off x="5304427" y="5809930"/>
            <a:ext cx="37382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GB" sz="1067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0.9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A34E0BE-6CF5-4873-979C-C4D81985C1FA}"/>
              </a:ext>
            </a:extLst>
          </p:cNvPr>
          <p:cNvSpPr txBox="1"/>
          <p:nvPr/>
        </p:nvSpPr>
        <p:spPr>
          <a:xfrm>
            <a:off x="4708608" y="5809930"/>
            <a:ext cx="37382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GB" sz="1067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0.6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F5D2E09-B652-4967-8DC8-CBC972492132}"/>
              </a:ext>
            </a:extLst>
          </p:cNvPr>
          <p:cNvSpPr txBox="1"/>
          <p:nvPr/>
        </p:nvSpPr>
        <p:spPr>
          <a:xfrm>
            <a:off x="9635183" y="5809930"/>
            <a:ext cx="37382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GB" sz="1067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0.6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1370BAE-2015-47DF-82B2-9B3736593DB2}"/>
              </a:ext>
            </a:extLst>
          </p:cNvPr>
          <p:cNvSpPr txBox="1"/>
          <p:nvPr/>
        </p:nvSpPr>
        <p:spPr>
          <a:xfrm>
            <a:off x="10191225" y="5809930"/>
            <a:ext cx="37382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GB" sz="1067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0.9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C01E8E7-C764-47A4-AD3D-1675BBA608AD}"/>
              </a:ext>
            </a:extLst>
          </p:cNvPr>
          <p:cNvCxnSpPr>
            <a:cxnSpLocks/>
          </p:cNvCxnSpPr>
          <p:nvPr/>
        </p:nvCxnSpPr>
        <p:spPr bwMode="auto">
          <a:xfrm>
            <a:off x="8899639" y="3210873"/>
            <a:ext cx="60960" cy="0"/>
          </a:xfrm>
          <a:prstGeom prst="straightConnector1">
            <a:avLst/>
          </a:prstGeom>
          <a:noFill/>
          <a:ln w="9525" cap="sq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0716027-5850-4469-ADF6-00E1489DFE91}"/>
              </a:ext>
            </a:extLst>
          </p:cNvPr>
          <p:cNvCxnSpPr>
            <a:cxnSpLocks/>
          </p:cNvCxnSpPr>
          <p:nvPr/>
        </p:nvCxnSpPr>
        <p:spPr bwMode="auto">
          <a:xfrm rot="10800000">
            <a:off x="11591865" y="3396584"/>
            <a:ext cx="60960" cy="0"/>
          </a:xfrm>
          <a:prstGeom prst="straightConnector1">
            <a:avLst/>
          </a:prstGeom>
          <a:noFill/>
          <a:ln w="9525" cap="sq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Content Placeholder 8">
            <a:extLst>
              <a:ext uri="{FF2B5EF4-FFF2-40B4-BE49-F238E27FC236}">
                <a16:creationId xmlns:a16="http://schemas.microsoft.com/office/drawing/2014/main" id="{C175E262-8236-4B9B-A5F1-B039A14329C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8710096" y="1513100"/>
          <a:ext cx="30480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76142488-9BB8-4035-8089-311E9EAEF9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0690923"/>
              </p:ext>
            </p:extLst>
          </p:nvPr>
        </p:nvGraphicFramePr>
        <p:xfrm>
          <a:off x="9214090" y="6039358"/>
          <a:ext cx="2523284" cy="3739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1642">
                  <a:extLst>
                    <a:ext uri="{9D8B030D-6E8A-4147-A177-3AD203B41FA5}">
                      <a16:colId xmlns:a16="http://schemas.microsoft.com/office/drawing/2014/main" val="3747163336"/>
                    </a:ext>
                  </a:extLst>
                </a:gridCol>
                <a:gridCol w="1261642">
                  <a:extLst>
                    <a:ext uri="{9D8B030D-6E8A-4147-A177-3AD203B41FA5}">
                      <a16:colId xmlns:a16="http://schemas.microsoft.com/office/drawing/2014/main" val="665173379"/>
                    </a:ext>
                  </a:extLst>
                </a:gridCol>
              </a:tblGrid>
              <a:tr h="3739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u="none" strike="noStrike" noProof="0" dirty="0" smtClean="0">
                          <a:solidFill>
                            <a:srgbClr val="2C4A8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cs-CZ" sz="1300" b="1" i="0" u="none" strike="noStrike" noProof="0" dirty="0" smtClean="0">
                          <a:solidFill>
                            <a:srgbClr val="2C4A8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zolizumab  </a:t>
                      </a:r>
                      <a:r>
                        <a:rPr lang="cs-CZ" sz="1300" b="1" i="0" u="none" strike="noStrike" baseline="0" noProof="0" dirty="0" smtClean="0">
                          <a:solidFill>
                            <a:srgbClr val="2C4A8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nab-paklitaxel</a:t>
                      </a:r>
                      <a:endParaRPr lang="en-GB" sz="1300" b="1" i="0" u="none" strike="noStrike" noProof="0" dirty="0">
                        <a:solidFill>
                          <a:srgbClr val="2C4A8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en-GB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cebo</a:t>
                      </a:r>
                      <a:r>
                        <a:rPr lang="en-GB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           </a:t>
                      </a:r>
                      <a:r>
                        <a:rPr lang="en-GB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n</a:t>
                      </a:r>
                      <a:r>
                        <a:rPr lang="cs-CZ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-paklitaxel</a:t>
                      </a:r>
                      <a:endParaRPr lang="en-GB" sz="1300" b="1" i="0" u="none" strike="noStrike" noProof="0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7134543"/>
                  </a:ext>
                </a:extLst>
              </a:tr>
            </a:tbl>
          </a:graphicData>
        </a:graphic>
      </p:graphicFrame>
      <p:pic>
        <p:nvPicPr>
          <p:cNvPr id="26" name="Obrázek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8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393693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9A1FAAB-AFBD-4C7E-9169-E516B873CE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7554330"/>
              </p:ext>
            </p:extLst>
          </p:nvPr>
        </p:nvGraphicFramePr>
        <p:xfrm>
          <a:off x="427838" y="1033357"/>
          <a:ext cx="11216640" cy="501396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4632960">
                  <a:extLst>
                    <a:ext uri="{9D8B030D-6E8A-4147-A177-3AD203B41FA5}">
                      <a16:colId xmlns:a16="http://schemas.microsoft.com/office/drawing/2014/main" val="335231714"/>
                    </a:ext>
                  </a:extLst>
                </a:gridCol>
                <a:gridCol w="1706880">
                  <a:extLst>
                    <a:ext uri="{9D8B030D-6E8A-4147-A177-3AD203B41FA5}">
                      <a16:colId xmlns:a16="http://schemas.microsoft.com/office/drawing/2014/main" val="68915418"/>
                    </a:ext>
                  </a:extLst>
                </a:gridCol>
                <a:gridCol w="1706880">
                  <a:extLst>
                    <a:ext uri="{9D8B030D-6E8A-4147-A177-3AD203B41FA5}">
                      <a16:colId xmlns:a16="http://schemas.microsoft.com/office/drawing/2014/main" val="2804027412"/>
                    </a:ext>
                  </a:extLst>
                </a:gridCol>
                <a:gridCol w="1584960">
                  <a:extLst>
                    <a:ext uri="{9D8B030D-6E8A-4147-A177-3AD203B41FA5}">
                      <a16:colId xmlns:a16="http://schemas.microsoft.com/office/drawing/2014/main" val="471463765"/>
                    </a:ext>
                  </a:extLst>
                </a:gridCol>
                <a:gridCol w="1584960">
                  <a:extLst>
                    <a:ext uri="{9D8B030D-6E8A-4147-A177-3AD203B41FA5}">
                      <a16:colId xmlns:a16="http://schemas.microsoft.com/office/drawing/2014/main" val="1145676571"/>
                    </a:ext>
                  </a:extLst>
                </a:gridCol>
              </a:tblGrid>
              <a:tr h="568960">
                <a:tc rowSpan="2"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9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Populace</a:t>
                      </a:r>
                      <a:r>
                        <a:rPr lang="en-US" sz="1900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a</a:t>
                      </a:r>
                      <a:endParaRPr lang="en-US" sz="1900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ezolizumab + </a:t>
                      </a:r>
                      <a:r>
                        <a:rPr kumimoji="0" lang="en-US" sz="19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b</a:t>
                      </a: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pa</a:t>
                      </a:r>
                      <a:r>
                        <a:rPr kumimoji="0" lang="cs-CZ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</a:t>
                      </a:r>
                      <a:r>
                        <a:rPr kumimoji="0" lang="en-US" sz="1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taxel</a:t>
                      </a:r>
                      <a: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n = 460)</a:t>
                      </a:r>
                      <a:endParaRPr lang="en-US" sz="1900" b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719263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lacebo + </a:t>
                      </a:r>
                      <a:r>
                        <a:rPr kumimoji="0" lang="en-US" sz="19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b</a:t>
                      </a: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pa</a:t>
                      </a:r>
                      <a:r>
                        <a:rPr kumimoji="0" lang="cs-CZ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</a:t>
                      </a:r>
                      <a:r>
                        <a:rPr kumimoji="0" lang="en-US" sz="1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taxel</a:t>
                      </a:r>
                      <a: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n = 430)</a:t>
                      </a:r>
                      <a:endParaRPr lang="en-US" sz="1900" b="0" baseline="30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335692079"/>
                  </a:ext>
                </a:extLst>
              </a:tr>
              <a:tr h="24384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Atezolizumab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-pa</a:t>
                      </a:r>
                      <a:r>
                        <a:rPr lang="cs-CZ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litaxel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-pa</a:t>
                      </a:r>
                      <a:r>
                        <a:rPr lang="cs-CZ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litaxel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7453783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2388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élka léčby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(%) 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348175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éně</a:t>
                      </a:r>
                      <a:r>
                        <a:rPr lang="cs-CZ" sz="16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ež 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cs-CZ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ěsíců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 (13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 (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(4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(3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0795271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18288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íce</a:t>
                      </a:r>
                      <a:r>
                        <a:rPr lang="cs-CZ" sz="1600" b="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ež</a:t>
                      </a:r>
                      <a:r>
                        <a:rPr lang="en-US" sz="1600" b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 </a:t>
                      </a:r>
                      <a:r>
                        <a:rPr lang="cs-CZ" sz="1600" b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ěsíců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8 (8)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2 (5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 (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6 (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6210821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Úmrtí</a:t>
                      </a:r>
                      <a:endParaRPr lang="en-US" sz="1600" b="1" strike="noStrike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22 (70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37 (7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87672356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šechny stupně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s</a:t>
                      </a:r>
                      <a:r>
                        <a:rPr lang="en-US" sz="1600" b="1" baseline="30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en-US" sz="1600" b="1" baseline="300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457 (99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421 (9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85825977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peň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-4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33 (5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83 (43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66410044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22860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atment-related Grade 3/4 AEs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91 (42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29 (30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550473849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peň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AEs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6 (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 (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67167494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22860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atment-related Grade 5 </a:t>
                      </a:r>
                      <a:r>
                        <a:rPr lang="en-US" sz="16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s</a:t>
                      </a:r>
                      <a:r>
                        <a:rPr lang="en-US" sz="1600" baseline="30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endParaRPr lang="en-US" sz="1600" baseline="300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 (&lt; 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 (&lt; 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48498423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ávažné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s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10 (24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80 (19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76512477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22860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atment-related serious AEs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58 (13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1 (7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185575473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doucí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ukci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ávky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bo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řerušení</a:t>
                      </a:r>
                      <a:r>
                        <a:rPr lang="en-US" sz="1600" b="1" baseline="300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</a:t>
                      </a:r>
                      <a:endParaRPr lang="en-US" sz="1600" b="1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88 (19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6 (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85072941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22860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- Atezolizumabu</a:t>
                      </a:r>
                      <a:r>
                        <a:rPr lang="cs-CZ" sz="16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nebo placeb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7 (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4 (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88638031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22860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- Nab-paklitaxelu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85 (19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6 (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509299107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SI</a:t>
                      </a:r>
                      <a:r>
                        <a:rPr lang="en-US" sz="1600" b="1" baseline="30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en-US" sz="1600" b="1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70 (59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79 (42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309996112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Stupeň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-4 AES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9 (9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0 (5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48183822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61CA3A9-C0FB-4449-8FD6-ECF4D1EC3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u="sng" dirty="0" smtClean="0">
                <a:solidFill>
                  <a:srgbClr val="6E295B"/>
                </a:solidFill>
                <a:latin typeface="Arial"/>
                <a:ea typeface="+mj-ea"/>
              </a:rPr>
              <a:t>Finální analýza- </a:t>
            </a:r>
            <a:r>
              <a:rPr lang="en-US" sz="2600" dirty="0" smtClean="0">
                <a:solidFill>
                  <a:srgbClr val="6E295B"/>
                </a:solidFill>
                <a:latin typeface="Arial"/>
                <a:ea typeface="+mj-ea"/>
              </a:rPr>
              <a:t>IMpassion130 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bezpečnostní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data</a:t>
            </a:r>
            <a:endParaRPr lang="en-GB" strike="sngStrike" baseline="300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6C6CFAB-3A00-434A-BE6F-7280F8B658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9488" y="6356351"/>
            <a:ext cx="9216401" cy="366183"/>
          </a:xfrm>
        </p:spPr>
        <p:txBody>
          <a:bodyPr/>
          <a:lstStyle/>
          <a:p>
            <a:pPr defTabSz="609585" eaLnBrk="0" fontAlgn="base" hangingPunct="0"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AE,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adverse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event;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AESI,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AE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of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special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interest.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baseline="30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a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Patients</a:t>
            </a:r>
            <a:r>
              <a:rPr lang="en-US" baseline="30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who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received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any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amount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of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any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study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drug.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b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No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confirmed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or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suspected COVID-19 AEs were reported. </a:t>
            </a:r>
            <a:r>
              <a:rPr lang="en-GB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c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Grade 5 AEs: autoimmune hepatitis (A), septic shock, (A + </a:t>
            </a:r>
            <a:r>
              <a:rPr lang="en-US" dirty="0" err="1">
                <a:solidFill>
                  <a:prstClr val="black"/>
                </a:solidFill>
                <a:ea typeface="MS PGothic" panose="020B0600070205080204" pitchFamily="34" charset="-128"/>
              </a:rPr>
              <a:t>nP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) hepatic failure (P + </a:t>
            </a:r>
            <a:r>
              <a:rPr lang="en-US" dirty="0" err="1">
                <a:solidFill>
                  <a:prstClr val="black"/>
                </a:solidFill>
                <a:ea typeface="MS PGothic" panose="020B0600070205080204" pitchFamily="34" charset="-128"/>
              </a:rPr>
              <a:t>nP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)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. </a:t>
            </a:r>
            <a:r>
              <a:rPr lang="en-GB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d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Most commonly due to neuropathy. </a:t>
            </a:r>
            <a:r>
              <a:rPr lang="en-GB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e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Sponsor defined based on immune-mediated risks of atezolizumab and other in-class agents.</a:t>
            </a:r>
            <a:endParaRPr lang="en-GB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59ED18-F61A-4383-9155-218220FAA768}"/>
              </a:ext>
            </a:extLst>
          </p:cNvPr>
          <p:cNvSpPr txBox="1">
            <a:spLocks/>
          </p:cNvSpPr>
          <p:nvPr/>
        </p:nvSpPr>
        <p:spPr>
          <a:xfrm>
            <a:off x="719666" y="6216651"/>
            <a:ext cx="10856929" cy="336549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r" defTabSz="457200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l" defTabSz="609585">
              <a:spcBef>
                <a:spcPts val="0"/>
              </a:spcBef>
            </a:pPr>
            <a:endParaRPr lang="en-US" sz="1067" dirty="0">
              <a:solidFill>
                <a:prstClr val="black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266163-3684-4736-BE8B-8F0B9BF46110}"/>
              </a:ext>
            </a:extLst>
          </p:cNvPr>
          <p:cNvSpPr txBox="1"/>
          <p:nvPr/>
        </p:nvSpPr>
        <p:spPr>
          <a:xfrm>
            <a:off x="8386619" y="6258757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9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34893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1CA3A9-C0FB-4449-8FD6-ECF4D1EC3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u="sng" dirty="0">
                <a:solidFill>
                  <a:srgbClr val="6E295B"/>
                </a:solidFill>
                <a:latin typeface="Arial"/>
              </a:rPr>
              <a:t>Finální analýza-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Nejčastější 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nežádoucí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účinky-</a:t>
            </a:r>
            <a:r>
              <a:rPr lang="en-US" dirty="0" smtClean="0"/>
              <a:t> </a:t>
            </a:r>
            <a:r>
              <a:rPr lang="en-US" sz="2600" dirty="0">
                <a:solidFill>
                  <a:srgbClr val="6E295B"/>
                </a:solidFill>
                <a:latin typeface="Arial"/>
                <a:ea typeface="+mj-ea"/>
              </a:rPr>
              <a:t>incidence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 </a:t>
            </a:r>
            <a:r>
              <a:rPr lang="en-US" sz="2600" dirty="0">
                <a:solidFill>
                  <a:srgbClr val="6E295B"/>
                </a:solidFill>
                <a:latin typeface="Arial"/>
                <a:ea typeface="+mj-ea"/>
              </a:rPr>
              <a:t>≥ 20% </a:t>
            </a:r>
            <a:endParaRPr lang="en-GB" sz="2600" dirty="0">
              <a:solidFill>
                <a:srgbClr val="6E295B"/>
              </a:solidFill>
              <a:latin typeface="Arial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266163-3684-4736-BE8B-8F0B9BF46110}"/>
              </a:ext>
            </a:extLst>
          </p:cNvPr>
          <p:cNvSpPr txBox="1"/>
          <p:nvPr/>
        </p:nvSpPr>
        <p:spPr>
          <a:xfrm>
            <a:off x="8386619" y="6258757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7E97836-31E8-43F7-8D21-B8BB1834EE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8659881"/>
              </p:ext>
            </p:extLst>
          </p:nvPr>
        </p:nvGraphicFramePr>
        <p:xfrm>
          <a:off x="160235" y="1337016"/>
          <a:ext cx="2072640" cy="4390503"/>
        </p:xfrm>
        <a:graphic>
          <a:graphicData uri="http://schemas.openxmlformats.org/drawingml/2006/table">
            <a:tbl>
              <a:tblPr firstRow="1" bandRow="1"/>
              <a:tblGrid>
                <a:gridCol w="2072640">
                  <a:extLst>
                    <a:ext uri="{9D8B030D-6E8A-4147-A177-3AD203B41FA5}">
                      <a16:colId xmlns:a16="http://schemas.microsoft.com/office/drawing/2014/main" val="1670693596"/>
                    </a:ext>
                  </a:extLst>
                </a:gridCol>
              </a:tblGrid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algn="r"/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rečka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3992759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algn="r"/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vracení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6362901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marL="0" marR="0" lvl="0" indent="0" algn="r" defTabSz="975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utrop</a:t>
                      </a: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</a:t>
                      </a:r>
                      <a:r>
                        <a:rPr lang="en-US" sz="16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</a:t>
                      </a: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898774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marL="0" marR="0" lvl="0" indent="0" algn="r" defTabSz="975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nížená</a:t>
                      </a:r>
                      <a:r>
                        <a:rPr lang="cs-CZ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uť k jídlu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198854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algn="r"/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ferní</a:t>
                      </a:r>
                      <a:r>
                        <a:rPr lang="cs-CZ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europatie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2630020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marL="0" marR="0" lvl="0" indent="0" algn="r" defTabSz="975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šel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8019510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algn="r"/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lest hlavy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3970157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algn="r"/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ácpa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2164106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marL="0" marR="0" lvl="0" indent="0" algn="r" defTabSz="975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</a:t>
                      </a: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</a:t>
                      </a: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</a:t>
                      </a: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2812612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marL="0" marR="0" lvl="0" indent="0" algn="r" defTabSz="975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ůjem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6786524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marL="0" marR="0" lvl="0" indent="0" algn="r" defTabSz="975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volnost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6040934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algn="r"/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Únava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9199691"/>
                  </a:ext>
                </a:extLst>
              </a:tr>
              <a:tr h="337731">
                <a:tc>
                  <a:txBody>
                    <a:bodyPr/>
                    <a:lstStyle/>
                    <a:p>
                      <a:pPr algn="r"/>
                      <a:r>
                        <a:rPr lang="en-GB" sz="16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opeci</a:t>
                      </a: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5116390"/>
                  </a:ext>
                </a:extLst>
              </a:tr>
            </a:tbl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46CD3B42-4E3E-4CB3-AC60-DFD2CAAEA705}"/>
              </a:ext>
            </a:extLst>
          </p:cNvPr>
          <p:cNvGrpSpPr/>
          <p:nvPr/>
        </p:nvGrpSpPr>
        <p:grpSpPr>
          <a:xfrm>
            <a:off x="2298533" y="1234934"/>
            <a:ext cx="9734448" cy="5330025"/>
            <a:chOff x="1723900" y="989700"/>
            <a:chExt cx="7300836" cy="3997519"/>
          </a:xfrm>
        </p:grpSpPr>
        <p:graphicFrame>
          <p:nvGraphicFramePr>
            <p:cNvPr id="11" name="Content Placeholder 3">
              <a:extLst>
                <a:ext uri="{FF2B5EF4-FFF2-40B4-BE49-F238E27FC236}">
                  <a16:creationId xmlns:a16="http://schemas.microsoft.com/office/drawing/2014/main" id="{2F9C6315-0A18-4843-A067-78973CAA3FAB}"/>
                </a:ext>
              </a:extLst>
            </p:cNvPr>
            <p:cNvGraphicFramePr>
              <a:graphicFrameLocks/>
            </p:cNvGraphicFramePr>
            <p:nvPr>
              <p:extLst/>
            </p:nvPr>
          </p:nvGraphicFramePr>
          <p:xfrm>
            <a:off x="1723900" y="989700"/>
            <a:ext cx="6181344" cy="353182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171D18B-230F-4043-BD72-C40B71133E31}"/>
                </a:ext>
              </a:extLst>
            </p:cNvPr>
            <p:cNvSpPr txBox="1"/>
            <p:nvPr/>
          </p:nvSpPr>
          <p:spPr>
            <a:xfrm>
              <a:off x="4138621" y="4702477"/>
              <a:ext cx="1419438" cy="28474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677310">
                <a:defRPr/>
              </a:pPr>
              <a:r>
                <a:rPr lang="en-GB" sz="1867" b="1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GB" sz="1867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a</a:t>
              </a:r>
              <a:r>
                <a:rPr lang="cs-CZ" sz="1867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cienti</a:t>
              </a:r>
              <a:r>
                <a:rPr lang="en-GB" sz="1867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GB" sz="1867" b="1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%)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E610DFF-9635-48B9-A8B1-417548F77AB5}"/>
                </a:ext>
              </a:extLst>
            </p:cNvPr>
            <p:cNvGrpSpPr/>
            <p:nvPr/>
          </p:nvGrpSpPr>
          <p:grpSpPr>
            <a:xfrm>
              <a:off x="6667036" y="1125028"/>
              <a:ext cx="2357700" cy="502719"/>
              <a:chOff x="6284895" y="1076184"/>
              <a:chExt cx="2562984" cy="522090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B82FCA23-1000-4549-92F5-CB71D4D650C0}"/>
                  </a:ext>
                </a:extLst>
              </p:cNvPr>
              <p:cNvSpPr/>
              <p:nvPr/>
            </p:nvSpPr>
            <p:spPr>
              <a:xfrm>
                <a:off x="6284895" y="1415150"/>
                <a:ext cx="182880" cy="18287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vert="horz" wrap="square" lIns="96000" tIns="60960" rIns="96000" bIns="6096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>
                  <a:spcBef>
                    <a:spcPct val="50000"/>
                  </a:spcBef>
                  <a:defRPr/>
                </a:pPr>
                <a:endParaRPr lang="en-US" sz="1467" kern="0" dirty="0">
                  <a:solidFill>
                    <a:srgbClr val="FFFFFF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6D9566B-72FE-4288-9ABD-7DD6D59FE301}"/>
                  </a:ext>
                </a:extLst>
              </p:cNvPr>
              <p:cNvSpPr/>
              <p:nvPr/>
            </p:nvSpPr>
            <p:spPr>
              <a:xfrm>
                <a:off x="6284896" y="1140829"/>
                <a:ext cx="182880" cy="182880"/>
              </a:xfrm>
              <a:prstGeom prst="rect">
                <a:avLst/>
              </a:prstGeom>
              <a:solidFill>
                <a:srgbClr val="2C4A8C"/>
              </a:solidFill>
              <a:ln>
                <a:noFill/>
              </a:ln>
            </p:spPr>
            <p:txBody>
              <a:bodyPr vert="horz" wrap="square" lIns="96000" tIns="60960" rIns="96000" bIns="6096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>
                  <a:spcBef>
                    <a:spcPct val="50000"/>
                  </a:spcBef>
                  <a:defRPr/>
                </a:pPr>
                <a:endParaRPr lang="en-US" sz="1467" kern="0" dirty="0">
                  <a:solidFill>
                    <a:srgbClr val="FFFFFF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0A33E4C-8419-49B4-9190-E91DFCD72B33}"/>
                  </a:ext>
                </a:extLst>
              </p:cNvPr>
              <p:cNvSpPr txBox="1"/>
              <p:nvPr/>
            </p:nvSpPr>
            <p:spPr>
              <a:xfrm>
                <a:off x="6443580" y="1350506"/>
                <a:ext cx="2306713" cy="2477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9170">
                  <a:spcBef>
                    <a:spcPct val="50000"/>
                  </a:spcBef>
                  <a:defRPr/>
                </a:pPr>
                <a:r>
                  <a:rPr lang="en-US" sz="1467" kern="0" dirty="0">
                    <a:solidFill>
                      <a:srgbClr val="C00000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Placebo + </a:t>
                </a:r>
                <a:r>
                  <a:rPr lang="en-US" sz="1467" i="1" kern="0" dirty="0" smtClean="0">
                    <a:solidFill>
                      <a:srgbClr val="C00000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nab</a:t>
                </a:r>
                <a:r>
                  <a:rPr lang="en-US" sz="1467" kern="0" dirty="0" smtClean="0">
                    <a:solidFill>
                      <a:srgbClr val="C00000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-pa</a:t>
                </a:r>
                <a:r>
                  <a:rPr lang="cs-CZ" sz="1467" kern="0" dirty="0" smtClean="0">
                    <a:solidFill>
                      <a:srgbClr val="C00000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k</a:t>
                </a:r>
                <a:r>
                  <a:rPr lang="en-US" sz="1467" kern="0" dirty="0" err="1" smtClean="0">
                    <a:solidFill>
                      <a:srgbClr val="C00000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litaxel</a:t>
                </a:r>
                <a:endParaRPr lang="en-US" sz="1467" kern="0" dirty="0">
                  <a:solidFill>
                    <a:srgbClr val="C0000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027BF2C4-A46A-4B21-ACD6-12BF09E88DF2}"/>
                  </a:ext>
                </a:extLst>
              </p:cNvPr>
              <p:cNvSpPr txBox="1"/>
              <p:nvPr/>
            </p:nvSpPr>
            <p:spPr>
              <a:xfrm>
                <a:off x="6443581" y="1076184"/>
                <a:ext cx="2404298" cy="2477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9170">
                  <a:spcBef>
                    <a:spcPct val="50000"/>
                  </a:spcBef>
                  <a:defRPr/>
                </a:pPr>
                <a:r>
                  <a:rPr lang="en-US" sz="1467" kern="0" dirty="0">
                    <a:solidFill>
                      <a:srgbClr val="2C4A8C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Atezolizumab + </a:t>
                </a:r>
                <a:r>
                  <a:rPr lang="en-US" sz="1467" i="1" kern="0" dirty="0" smtClean="0">
                    <a:solidFill>
                      <a:srgbClr val="2C4A8C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nab</a:t>
                </a:r>
                <a:r>
                  <a:rPr lang="en-US" sz="1467" kern="0" dirty="0" smtClean="0">
                    <a:solidFill>
                      <a:srgbClr val="2C4A8C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-pa</a:t>
                </a:r>
                <a:r>
                  <a:rPr lang="cs-CZ" sz="1467" kern="0" dirty="0" smtClean="0">
                    <a:solidFill>
                      <a:srgbClr val="2C4A8C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k</a:t>
                </a:r>
                <a:r>
                  <a:rPr lang="en-US" sz="1467" kern="0" dirty="0" err="1" smtClean="0">
                    <a:solidFill>
                      <a:srgbClr val="2C4A8C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litaxel</a:t>
                </a:r>
                <a:endParaRPr lang="en-US" sz="1467" kern="0" dirty="0">
                  <a:solidFill>
                    <a:srgbClr val="2C4A8C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93A6527-CD44-42B8-916D-72137857E977}"/>
                </a:ext>
              </a:extLst>
            </p:cNvPr>
            <p:cNvGrpSpPr/>
            <p:nvPr/>
          </p:nvGrpSpPr>
          <p:grpSpPr>
            <a:xfrm>
              <a:off x="2270093" y="4471511"/>
              <a:ext cx="5202087" cy="254000"/>
              <a:chOff x="3646784" y="5032966"/>
              <a:chExt cx="5306311" cy="261628"/>
            </a:xfrm>
          </p:grpSpPr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AADD7AEE-ED97-4D6E-B5EC-0F9E51DC2FD1}"/>
                  </a:ext>
                </a:extLst>
              </p:cNvPr>
              <p:cNvSpPr txBox="1"/>
              <p:nvPr/>
            </p:nvSpPr>
            <p:spPr>
              <a:xfrm>
                <a:off x="3646784" y="5056580"/>
                <a:ext cx="577209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50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430AD91C-5F76-4FF8-80C5-C03F92E3392C}"/>
                  </a:ext>
                </a:extLst>
              </p:cNvPr>
              <p:cNvSpPr txBox="1"/>
              <p:nvPr/>
            </p:nvSpPr>
            <p:spPr>
              <a:xfrm>
                <a:off x="4058639" y="5056580"/>
                <a:ext cx="671209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40</a:t>
                </a: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628F76B0-CD7B-4089-BE96-5F10A7770FCE}"/>
                  </a:ext>
                </a:extLst>
              </p:cNvPr>
              <p:cNvSpPr txBox="1"/>
              <p:nvPr/>
            </p:nvSpPr>
            <p:spPr>
              <a:xfrm>
                <a:off x="4525490" y="5056828"/>
                <a:ext cx="671209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30</a:t>
                </a: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975FA0BB-E567-4DA3-A389-E80B07387CDB}"/>
                  </a:ext>
                </a:extLst>
              </p:cNvPr>
              <p:cNvSpPr txBox="1"/>
              <p:nvPr/>
            </p:nvSpPr>
            <p:spPr>
              <a:xfrm>
                <a:off x="5013167" y="5050270"/>
                <a:ext cx="671209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20</a:t>
                </a: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0E91F58A-9278-4D46-B892-3BE844947A6F}"/>
                  </a:ext>
                </a:extLst>
              </p:cNvPr>
              <p:cNvSpPr txBox="1"/>
              <p:nvPr/>
            </p:nvSpPr>
            <p:spPr>
              <a:xfrm>
                <a:off x="5457030" y="5045501"/>
                <a:ext cx="671209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10</a:t>
                </a: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6FB9963B-2072-4539-AD0C-4BB9C79B9BA6}"/>
                  </a:ext>
                </a:extLst>
              </p:cNvPr>
              <p:cNvSpPr txBox="1"/>
              <p:nvPr/>
            </p:nvSpPr>
            <p:spPr>
              <a:xfrm>
                <a:off x="5931037" y="5053874"/>
                <a:ext cx="671209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0</a:t>
                </a: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7ABB6AF1-77C6-4E92-A88E-718DF01BB531}"/>
                  </a:ext>
                </a:extLst>
              </p:cNvPr>
              <p:cNvSpPr txBox="1"/>
              <p:nvPr/>
            </p:nvSpPr>
            <p:spPr>
              <a:xfrm>
                <a:off x="6391320" y="5055367"/>
                <a:ext cx="671210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10</a:t>
                </a: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42F027BD-4D5F-45F1-B263-DFB2A7119674}"/>
                  </a:ext>
                </a:extLst>
              </p:cNvPr>
              <p:cNvSpPr txBox="1"/>
              <p:nvPr/>
            </p:nvSpPr>
            <p:spPr>
              <a:xfrm>
                <a:off x="6882594" y="5040702"/>
                <a:ext cx="671210" cy="2377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20</a:t>
                </a: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E9739BEF-91C0-4C8A-8585-7031052FDDEC}"/>
                  </a:ext>
                </a:extLst>
              </p:cNvPr>
              <p:cNvSpPr txBox="1"/>
              <p:nvPr/>
            </p:nvSpPr>
            <p:spPr>
              <a:xfrm>
                <a:off x="7333274" y="5032966"/>
                <a:ext cx="671210" cy="2377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30</a:t>
                </a: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0AA96058-1492-4ECC-ABFF-12BCD50908F6}"/>
                  </a:ext>
                </a:extLst>
              </p:cNvPr>
              <p:cNvSpPr txBox="1"/>
              <p:nvPr/>
            </p:nvSpPr>
            <p:spPr>
              <a:xfrm>
                <a:off x="7800946" y="5037459"/>
                <a:ext cx="671210" cy="2377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40</a:t>
                </a: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B1053614-1139-4D25-A0A5-D18D1985C1BC}"/>
                  </a:ext>
                </a:extLst>
              </p:cNvPr>
              <p:cNvSpPr txBox="1"/>
              <p:nvPr/>
            </p:nvSpPr>
            <p:spPr>
              <a:xfrm>
                <a:off x="8281885" y="5037459"/>
                <a:ext cx="671210" cy="2377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50</a:t>
                </a:r>
              </a:p>
            </p:txBody>
          </p:sp>
        </p:grp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84FCB021-2EE8-4CE6-9035-E51871AEAAEE}"/>
                </a:ext>
              </a:extLst>
            </p:cNvPr>
            <p:cNvSpPr txBox="1"/>
            <p:nvPr/>
          </p:nvSpPr>
          <p:spPr>
            <a:xfrm>
              <a:off x="1818402" y="4475523"/>
              <a:ext cx="565872" cy="23083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677310">
                <a:defRPr/>
              </a:pPr>
              <a:r>
                <a:rPr lang="en-GB" sz="1400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60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594D38E7-0B34-4AE1-A482-69616C904087}"/>
                </a:ext>
              </a:extLst>
            </p:cNvPr>
            <p:cNvSpPr txBox="1"/>
            <p:nvPr/>
          </p:nvSpPr>
          <p:spPr>
            <a:xfrm>
              <a:off x="7278208" y="4460525"/>
              <a:ext cx="658026" cy="23083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677310">
                <a:defRPr/>
              </a:pPr>
              <a:r>
                <a:rPr lang="en-GB" sz="1400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60</a:t>
              </a:r>
            </a:p>
          </p:txBody>
        </p:sp>
      </p:grpSp>
      <p:pic>
        <p:nvPicPr>
          <p:cNvPr id="31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32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100153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AC9D03-093A-45E6-AC1A-5F0949280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u="sng" dirty="0">
                <a:solidFill>
                  <a:srgbClr val="6E295B"/>
                </a:solidFill>
                <a:latin typeface="Arial"/>
              </a:rPr>
              <a:t>Finální analýza-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Imunitně 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podmíněné nežádoucí účinky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22BFC7-830B-4F80-A8A4-D187C2E845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a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 Grouped MedDRA preferred terms. </a:t>
            </a:r>
            <a:r>
              <a:rPr lang="en-US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b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Sponsor-defined group of terms representing events suggestive of hepatitis. </a:t>
            </a:r>
            <a:b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</a:br>
            <a:r>
              <a:rPr lang="en-US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c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 Enzyme elevations only. </a:t>
            </a:r>
            <a:endParaRPr lang="en-GB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AFF6E15-5C60-4291-B80B-B82E6A5E76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4372921"/>
              </p:ext>
            </p:extLst>
          </p:nvPr>
        </p:nvGraphicFramePr>
        <p:xfrm>
          <a:off x="507495" y="1385363"/>
          <a:ext cx="11360653" cy="4491557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4052033">
                  <a:extLst>
                    <a:ext uri="{9D8B030D-6E8A-4147-A177-3AD203B41FA5}">
                      <a16:colId xmlns:a16="http://schemas.microsoft.com/office/drawing/2014/main" val="335231714"/>
                    </a:ext>
                  </a:extLst>
                </a:gridCol>
                <a:gridCol w="2060347">
                  <a:extLst>
                    <a:ext uri="{9D8B030D-6E8A-4147-A177-3AD203B41FA5}">
                      <a16:colId xmlns:a16="http://schemas.microsoft.com/office/drawing/2014/main" val="68915418"/>
                    </a:ext>
                  </a:extLst>
                </a:gridCol>
                <a:gridCol w="1593963">
                  <a:extLst>
                    <a:ext uri="{9D8B030D-6E8A-4147-A177-3AD203B41FA5}">
                      <a16:colId xmlns:a16="http://schemas.microsoft.com/office/drawing/2014/main" val="607234795"/>
                    </a:ext>
                  </a:extLst>
                </a:gridCol>
                <a:gridCol w="2073162">
                  <a:extLst>
                    <a:ext uri="{9D8B030D-6E8A-4147-A177-3AD203B41FA5}">
                      <a16:colId xmlns:a16="http://schemas.microsoft.com/office/drawing/2014/main" val="471463765"/>
                    </a:ext>
                  </a:extLst>
                </a:gridCol>
                <a:gridCol w="1581148">
                  <a:extLst>
                    <a:ext uri="{9D8B030D-6E8A-4147-A177-3AD203B41FA5}">
                      <a16:colId xmlns:a16="http://schemas.microsoft.com/office/drawing/2014/main" val="1402721238"/>
                    </a:ext>
                  </a:extLst>
                </a:gridCol>
              </a:tblGrid>
              <a:tr h="774964">
                <a:tc rowSpan="2"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</a:t>
                      </a:r>
                      <a:r>
                        <a:rPr lang="cs-CZ" sz="19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cs-CZ" sz="19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9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</a:t>
                      </a:r>
                      <a:r>
                        <a:rPr lang="en-US" sz="19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  <a:r>
                        <a:rPr lang="en-US" sz="1900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endParaRPr lang="en-US" sz="19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1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ezolizumab + </a:t>
                      </a:r>
                      <a:r>
                        <a:rPr lang="en-US" sz="1900" b="1" i="1" u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en-US" sz="1900" b="1" u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a</a:t>
                      </a:r>
                      <a:r>
                        <a:rPr lang="cs-CZ" sz="1900" b="1" u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900" b="1" u="non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taxel</a:t>
                      </a:r>
                      <a:r>
                        <a:rPr lang="en-US" sz="1900" b="1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900" b="1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900" u="non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460)</a:t>
                      </a:r>
                      <a:endParaRPr lang="en-US" sz="1900" b="0" u="non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719263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cebo + </a:t>
                      </a:r>
                      <a:r>
                        <a:rPr lang="en-US" sz="1900" b="1" i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en-US" sz="19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a</a:t>
                      </a:r>
                      <a:r>
                        <a:rPr lang="cs-CZ" sz="19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900" b="1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taxel</a:t>
                      </a:r>
                      <a:r>
                        <a:rPr lang="en-US" sz="19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9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430)</a:t>
                      </a:r>
                      <a:endParaRPr lang="en-US" sz="1900" b="0" baseline="30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5692079"/>
                  </a:ext>
                </a:extLst>
              </a:tr>
              <a:tr h="306757">
                <a:tc vMerge="1"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baseline="300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18288" marR="18288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715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Všechny stupně</a:t>
                      </a:r>
                      <a:endParaRPr lang="en-US" sz="19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5715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Stupeň</a:t>
                      </a:r>
                      <a:r>
                        <a:rPr lang="en-US" sz="1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-4</a:t>
                      </a:r>
                    </a:p>
                  </a:txBody>
                  <a:tcPr marL="24384" marR="24384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5715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Všechny stupně</a:t>
                      </a:r>
                      <a:endParaRPr lang="en-US" sz="19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5715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Stupeň</a:t>
                      </a:r>
                      <a:r>
                        <a:rPr lang="en-US" sz="1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-4</a:t>
                      </a:r>
                    </a:p>
                  </a:txBody>
                  <a:tcPr marL="24384" marR="24384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7672356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6350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Hepatiti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da</a:t>
                      </a:r>
                      <a:r>
                        <a:rPr lang="en-US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(diagnosis)</a:t>
                      </a:r>
                      <a:r>
                        <a:rPr lang="en-US" sz="1600" b="0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1 (2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7 (2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7 (2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Arial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b="0" i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b="0" i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)</a:t>
                      </a:r>
                      <a:endParaRPr sz="1600" u="none" strike="noStrike" cap="non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6410044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Hypo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tyreóza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84 (18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19 (4)</a:t>
                      </a:r>
                      <a:endParaRPr sz="1600" b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Arial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b="0" i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0</a:t>
                      </a:r>
                      <a:endParaRPr sz="1600" u="none" strike="noStrike" cap="non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167494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Hypert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tyreóza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2 (5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(1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8498423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Nedostatek a</a:t>
                      </a:r>
                      <a:r>
                        <a:rPr lang="en-US" sz="16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drenal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inu</a:t>
                      </a:r>
                      <a:endParaRPr lang="en-US" sz="1600" b="0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5 (1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6512477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Pneumonit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a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8 (4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5575473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Kolitida</a:t>
                      </a:r>
                      <a:endParaRPr lang="en-US" sz="1600" b="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7 (2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 (&lt; 1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(1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072941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an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kreatitida</a:t>
                      </a:r>
                      <a:r>
                        <a:rPr lang="en-US" sz="1600" b="0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endParaRPr lang="en-US" sz="1600" b="0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38031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iabetes mellitu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(1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3951684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Hypofyzitida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 (&lt; 1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 (&lt; 1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9996112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Myo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zitida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(1)</a:t>
                      </a:r>
                      <a:endParaRPr sz="1600" i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i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i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i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8183822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Vyrážka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5 (36)</a:t>
                      </a:r>
                      <a:endParaRPr sz="1600" i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i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(1)</a:t>
                      </a:r>
                      <a:endParaRPr sz="1600" i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i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2 (26)</a:t>
                      </a:r>
                      <a:endParaRPr sz="1600" i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i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1)</a:t>
                      </a:r>
                      <a:endParaRPr sz="1600" i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8416621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Reakce související s infuzí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4 (1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 (&lt; 1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3 (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3421300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F08BB587-384E-4712-A63B-CA77ACAAC2AE}"/>
              </a:ext>
            </a:extLst>
          </p:cNvPr>
          <p:cNvSpPr txBox="1"/>
          <p:nvPr/>
        </p:nvSpPr>
        <p:spPr>
          <a:xfrm>
            <a:off x="8386619" y="6258757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7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8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754767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23571" y="898496"/>
            <a:ext cx="11062413" cy="4513992"/>
          </a:xfrm>
        </p:spPr>
        <p:txBody>
          <a:bodyPr/>
          <a:lstStyle/>
          <a:p>
            <a:pPr algn="just"/>
            <a:endParaRPr lang="cs-CZ" sz="1800" b="0" baseline="300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800" b="0" dirty="0"/>
              <a:t>Kombinace </a:t>
            </a:r>
            <a:r>
              <a:rPr lang="cs-CZ" sz="1800" b="0" dirty="0" err="1" smtClean="0"/>
              <a:t>atezolizumab</a:t>
            </a:r>
            <a:r>
              <a:rPr lang="en-US" sz="1800" b="0" dirty="0" smtClean="0"/>
              <a:t> </a:t>
            </a:r>
            <a:r>
              <a:rPr lang="en-US" sz="1800" b="0" dirty="0"/>
              <a:t>+ </a:t>
            </a:r>
            <a:r>
              <a:rPr lang="en-US" sz="1800" b="0" dirty="0" smtClean="0"/>
              <a:t>nab-pa</a:t>
            </a:r>
            <a:r>
              <a:rPr lang="cs-CZ" sz="1800" b="0" dirty="0" smtClean="0"/>
              <a:t>k</a:t>
            </a:r>
            <a:r>
              <a:rPr lang="en-US" sz="1800" b="0" dirty="0" err="1" smtClean="0"/>
              <a:t>litaxel</a:t>
            </a:r>
            <a:r>
              <a:rPr lang="en-US" sz="1800" b="0" dirty="0" smtClean="0"/>
              <a:t> </a:t>
            </a:r>
            <a:r>
              <a:rPr lang="cs-CZ" sz="1800" dirty="0" smtClean="0"/>
              <a:t>prodloužila </a:t>
            </a:r>
            <a:r>
              <a:rPr lang="cs-CZ" sz="1800" dirty="0"/>
              <a:t>celkové </a:t>
            </a:r>
            <a:r>
              <a:rPr lang="cs-CZ" sz="1800" dirty="0" smtClean="0"/>
              <a:t>přežití </a:t>
            </a:r>
            <a:r>
              <a:rPr lang="cs-CZ" sz="1800" b="0" dirty="0" smtClean="0"/>
              <a:t>pacientům </a:t>
            </a:r>
            <a:r>
              <a:rPr lang="cs-CZ" sz="1800" b="0" dirty="0"/>
              <a:t>s mTNBC a P</a:t>
            </a:r>
            <a:r>
              <a:rPr lang="en-US" sz="1800" b="0" dirty="0"/>
              <a:t>D-L1</a:t>
            </a:r>
            <a:r>
              <a:rPr lang="cs-CZ" sz="1800" b="0" dirty="0"/>
              <a:t> expresí</a:t>
            </a:r>
            <a:r>
              <a:rPr lang="en-US" sz="1800" b="0" baseline="30000" dirty="0"/>
              <a:t> </a:t>
            </a:r>
            <a:r>
              <a:rPr lang="cs-CZ" sz="1800" b="0" baseline="30000" dirty="0" smtClean="0"/>
              <a:t>1</a:t>
            </a:r>
          </a:p>
          <a:p>
            <a:pPr marL="505621" lvl="1" indent="-285750" algn="just"/>
            <a:r>
              <a:rPr lang="cs-CZ" sz="1800" dirty="0" smtClean="0">
                <a:solidFill>
                  <a:schemeClr val="tx1"/>
                </a:solidFill>
              </a:rPr>
              <a:t>Finální </a:t>
            </a:r>
            <a:r>
              <a:rPr lang="cs-CZ" sz="1800" dirty="0">
                <a:solidFill>
                  <a:schemeClr val="tx1"/>
                </a:solidFill>
              </a:rPr>
              <a:t>analýza ukázala </a:t>
            </a:r>
            <a:r>
              <a:rPr lang="cs-CZ" sz="1800" b="1" dirty="0">
                <a:solidFill>
                  <a:schemeClr val="tx1"/>
                </a:solidFill>
              </a:rPr>
              <a:t>zlepšení mediánu celkového přežití o 7,5 měsíce</a:t>
            </a:r>
            <a:r>
              <a:rPr lang="cs-CZ" sz="1800" dirty="0">
                <a:solidFill>
                  <a:schemeClr val="tx1"/>
                </a:solidFill>
              </a:rPr>
              <a:t> u ramene s atezolizumabem </a:t>
            </a:r>
            <a:r>
              <a:rPr lang="cs-CZ" sz="1800" dirty="0" smtClean="0">
                <a:solidFill>
                  <a:schemeClr val="tx1"/>
                </a:solidFill>
              </a:rPr>
              <a:t>                  a nab-paklitaxelem, HR 0.67(95%CI:0.53,0.86)</a:t>
            </a:r>
            <a:r>
              <a:rPr lang="cs-CZ" sz="1800" baseline="30000" dirty="0"/>
              <a:t> </a:t>
            </a:r>
            <a:r>
              <a:rPr lang="cs-CZ" sz="1800" baseline="30000" dirty="0" smtClean="0">
                <a:solidFill>
                  <a:schemeClr val="tx1"/>
                </a:solidFill>
              </a:rPr>
              <a:t>6</a:t>
            </a:r>
            <a:endParaRPr lang="cs-CZ" sz="1800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800" b="0" dirty="0">
                <a:solidFill>
                  <a:schemeClr val="tx1"/>
                </a:solidFill>
              </a:rPr>
              <a:t>Léčba kombinací atezolizumab</a:t>
            </a:r>
            <a:r>
              <a:rPr lang="en-US" sz="1800" b="0" dirty="0">
                <a:solidFill>
                  <a:schemeClr val="tx1"/>
                </a:solidFill>
              </a:rPr>
              <a:t> + nab-pa</a:t>
            </a:r>
            <a:r>
              <a:rPr lang="cs-CZ" sz="1800" b="0" dirty="0">
                <a:solidFill>
                  <a:schemeClr val="tx1"/>
                </a:solidFill>
              </a:rPr>
              <a:t>k</a:t>
            </a:r>
            <a:r>
              <a:rPr lang="en-US" sz="1800" b="0" dirty="0" err="1">
                <a:solidFill>
                  <a:schemeClr val="tx1"/>
                </a:solidFill>
              </a:rPr>
              <a:t>litaxel</a:t>
            </a:r>
            <a:r>
              <a:rPr lang="en-US" sz="1800" b="0" dirty="0">
                <a:solidFill>
                  <a:schemeClr val="tx1"/>
                </a:solidFill>
              </a:rPr>
              <a:t> </a:t>
            </a:r>
            <a:r>
              <a:rPr lang="cs-CZ" sz="1800" b="0" dirty="0">
                <a:solidFill>
                  <a:schemeClr val="tx1"/>
                </a:solidFill>
              </a:rPr>
              <a:t>byla dobře snášena, nebyly pozorovány žádné kumulativní toxicity </a:t>
            </a:r>
            <a:r>
              <a:rPr lang="cs-CZ" sz="1800" b="0" dirty="0" smtClean="0">
                <a:solidFill>
                  <a:schemeClr val="tx1"/>
                </a:solidFill>
              </a:rPr>
              <a:t>     </a:t>
            </a:r>
            <a:r>
              <a:rPr lang="cs-CZ" sz="1800" b="0" dirty="0">
                <a:solidFill>
                  <a:schemeClr val="tx1"/>
                </a:solidFill>
              </a:rPr>
              <a:t>a nové bezpečnostní </a:t>
            </a:r>
            <a:r>
              <a:rPr lang="cs-CZ" sz="1800" b="0" dirty="0" smtClean="0">
                <a:solidFill>
                  <a:schemeClr val="tx1"/>
                </a:solidFill>
              </a:rPr>
              <a:t>signály </a:t>
            </a:r>
            <a:r>
              <a:rPr lang="en-US" sz="1800" b="0" baseline="30000" dirty="0"/>
              <a:t>1</a:t>
            </a:r>
            <a:r>
              <a:rPr lang="cs-CZ" sz="1800" b="0" baseline="30000"/>
              <a:t>,2</a:t>
            </a:r>
            <a:r>
              <a:rPr lang="cs-CZ" sz="1800" b="0" smtClean="0">
                <a:solidFill>
                  <a:schemeClr val="tx1"/>
                </a:solidFill>
              </a:rPr>
              <a:t> 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800" b="0" smtClean="0"/>
              <a:t>Exprese </a:t>
            </a:r>
            <a:r>
              <a:rPr lang="cs-CZ" sz="1800" dirty="0" smtClean="0"/>
              <a:t>PD-L1</a:t>
            </a:r>
            <a:r>
              <a:rPr lang="cs-CZ" sz="1800" b="0" dirty="0" smtClean="0"/>
              <a:t> na imunitních buňkách </a:t>
            </a:r>
            <a:r>
              <a:rPr lang="cs-CZ" sz="1800" dirty="0" smtClean="0"/>
              <a:t>predikuje</a:t>
            </a:r>
            <a:r>
              <a:rPr lang="cs-CZ" sz="1800" b="0" dirty="0" smtClean="0"/>
              <a:t> </a:t>
            </a:r>
            <a:r>
              <a:rPr lang="cs-CZ" sz="1800" dirty="0" smtClean="0"/>
              <a:t>významný klinický benefit </a:t>
            </a:r>
            <a:r>
              <a:rPr lang="cs-CZ" sz="1800" b="0" dirty="0" smtClean="0"/>
              <a:t>léčby kombinací </a:t>
            </a:r>
            <a:r>
              <a:rPr lang="cs-CZ" sz="1800" b="0" dirty="0" err="1" smtClean="0"/>
              <a:t>atezolizumab</a:t>
            </a:r>
            <a:r>
              <a:rPr lang="cs-CZ" sz="1800" b="0" dirty="0" smtClean="0"/>
              <a:t> + </a:t>
            </a:r>
            <a:r>
              <a:rPr lang="cs-CZ" sz="1800" b="0" dirty="0" err="1" smtClean="0"/>
              <a:t>nab-paklitaxel</a:t>
            </a:r>
            <a:r>
              <a:rPr lang="en-US" sz="1800" b="0" baseline="30000" dirty="0" smtClean="0"/>
              <a:t>1</a:t>
            </a:r>
            <a:r>
              <a:rPr lang="cs-CZ" sz="1800" b="0" baseline="30000" dirty="0" smtClean="0"/>
              <a:t>,2,3</a:t>
            </a:r>
            <a:endParaRPr lang="cs-CZ" sz="1800" b="0" dirty="0" smtClean="0"/>
          </a:p>
          <a:p>
            <a:pPr algn="just"/>
            <a:endParaRPr lang="cs-CZ" sz="1800" dirty="0" smtClean="0">
              <a:solidFill>
                <a:schemeClr val="tx1"/>
              </a:solidFill>
            </a:endParaRPr>
          </a:p>
          <a:p>
            <a:pPr marL="285750" indent="-285750" algn="just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cs-CZ" sz="1800" b="0" dirty="0" smtClean="0"/>
              <a:t>Studie </a:t>
            </a:r>
            <a:r>
              <a:rPr lang="cs-CZ" sz="1800" dirty="0" smtClean="0"/>
              <a:t>IMpassion130</a:t>
            </a:r>
            <a:r>
              <a:rPr lang="cs-CZ" sz="1800" b="0" dirty="0" smtClean="0"/>
              <a:t> je </a:t>
            </a:r>
            <a:r>
              <a:rPr lang="cs-CZ" sz="1800" dirty="0" smtClean="0"/>
              <a:t>první</a:t>
            </a:r>
            <a:r>
              <a:rPr lang="cs-CZ" sz="1800" b="0" dirty="0" smtClean="0"/>
              <a:t> studií, která </a:t>
            </a:r>
            <a:r>
              <a:rPr lang="cs-CZ" sz="1800" dirty="0" smtClean="0"/>
              <a:t>prokázala klinicky významný benefit </a:t>
            </a:r>
            <a:r>
              <a:rPr lang="cs-CZ" sz="1800" b="0" dirty="0" smtClean="0"/>
              <a:t>léčby imunoterapií u pacientů         s mTNBC v první linii léčby</a:t>
            </a:r>
            <a:r>
              <a:rPr lang="en-US" sz="1800" b="0" baseline="30000" dirty="0" smtClean="0"/>
              <a:t>1</a:t>
            </a:r>
            <a:r>
              <a:rPr lang="cs-CZ" sz="1800" b="0" baseline="30000" dirty="0" smtClean="0"/>
              <a:t>,2</a:t>
            </a:r>
            <a:r>
              <a:rPr lang="en-US" sz="1800" b="0" baseline="30000" dirty="0" smtClean="0"/>
              <a:t> </a:t>
            </a:r>
            <a:endParaRPr lang="cs-CZ" sz="1800" b="0" baseline="30000" dirty="0" smtClean="0"/>
          </a:p>
          <a:p>
            <a:pPr marL="285750" indent="-285750" algn="just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sz="1800" dirty="0" err="1" smtClean="0"/>
              <a:t>Imunoterapie</a:t>
            </a:r>
            <a:r>
              <a:rPr lang="en-US" sz="1800" dirty="0" smtClean="0"/>
              <a:t> </a:t>
            </a:r>
            <a:r>
              <a:rPr lang="en-US" sz="1800" dirty="0"/>
              <a:t>je </a:t>
            </a:r>
            <a:r>
              <a:rPr lang="en-US" sz="1800" dirty="0" err="1"/>
              <a:t>doporučena</a:t>
            </a:r>
            <a:r>
              <a:rPr lang="en-US" sz="1800" dirty="0"/>
              <a:t> </a:t>
            </a:r>
            <a:r>
              <a:rPr lang="en-US" sz="1800" dirty="0" err="1"/>
              <a:t>dle</a:t>
            </a:r>
            <a:r>
              <a:rPr lang="en-US" sz="1800" dirty="0"/>
              <a:t> </a:t>
            </a:r>
            <a:r>
              <a:rPr lang="en-US" sz="1800" dirty="0" err="1"/>
              <a:t>aktuální</a:t>
            </a:r>
            <a:r>
              <a:rPr lang="en-US" sz="1800" dirty="0"/>
              <a:t> </a:t>
            </a:r>
            <a:r>
              <a:rPr lang="en-US" sz="1800" dirty="0" err="1"/>
              <a:t>Modré</a:t>
            </a:r>
            <a:r>
              <a:rPr lang="en-US" sz="1800" dirty="0"/>
              <a:t> </a:t>
            </a:r>
            <a:r>
              <a:rPr lang="en-US" sz="1800" dirty="0" err="1"/>
              <a:t>knihy</a:t>
            </a:r>
            <a:r>
              <a:rPr lang="en-US" sz="1800" dirty="0"/>
              <a:t> </a:t>
            </a:r>
            <a:r>
              <a:rPr lang="en-US" sz="1800" dirty="0" err="1"/>
              <a:t>i</a:t>
            </a:r>
            <a:r>
              <a:rPr lang="en-US" sz="1800" dirty="0"/>
              <a:t> NCCN </a:t>
            </a:r>
            <a:r>
              <a:rPr lang="en-US" sz="1800" dirty="0" smtClean="0"/>
              <a:t>guidelines </a:t>
            </a:r>
            <a:r>
              <a:rPr lang="en-US" sz="1800" dirty="0"/>
              <a:t>k </a:t>
            </a:r>
            <a:r>
              <a:rPr lang="en-US" sz="1800" dirty="0" err="1"/>
              <a:t>léčbě</a:t>
            </a:r>
            <a:r>
              <a:rPr lang="en-US" sz="1800" dirty="0"/>
              <a:t> </a:t>
            </a:r>
            <a:r>
              <a:rPr lang="en-US" sz="1800" dirty="0" err="1"/>
              <a:t>pacientů</a:t>
            </a:r>
            <a:r>
              <a:rPr lang="en-US" sz="1800" dirty="0"/>
              <a:t> s </a:t>
            </a:r>
            <a:r>
              <a:rPr lang="en-US" sz="1800" dirty="0" err="1"/>
              <a:t>mTNBC</a:t>
            </a:r>
            <a:r>
              <a:rPr lang="en-US" sz="1800" dirty="0"/>
              <a:t> a PD-L1 </a:t>
            </a:r>
            <a:r>
              <a:rPr lang="en-US" sz="1800" dirty="0" err="1" smtClean="0"/>
              <a:t>expresí</a:t>
            </a:r>
            <a:r>
              <a:rPr lang="cs-CZ" sz="1800" dirty="0" smtClean="0"/>
              <a:t> </a:t>
            </a:r>
            <a:r>
              <a:rPr lang="en-US" sz="1800" dirty="0"/>
              <a:t>≥ 1</a:t>
            </a:r>
            <a:r>
              <a:rPr lang="cs-CZ" sz="1800" dirty="0"/>
              <a:t>% </a:t>
            </a:r>
            <a:r>
              <a:rPr lang="cs-CZ" sz="1800" b="0" baseline="30000" dirty="0" smtClean="0"/>
              <a:t>4,5</a:t>
            </a:r>
            <a:endParaRPr lang="cs-CZ" sz="1800" dirty="0" smtClean="0"/>
          </a:p>
          <a:p>
            <a:pPr marL="285750" indent="-285750" algn="just">
              <a:spcBef>
                <a:spcPts val="900"/>
              </a:spcBef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 algn="just"/>
            <a:endParaRPr lang="cs-CZ" sz="1800" dirty="0"/>
          </a:p>
          <a:p>
            <a:pPr algn="just"/>
            <a:endParaRPr lang="cs-CZ" sz="1800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Závěry</a:t>
            </a:r>
            <a:endParaRPr lang="cs-CZ" dirty="0"/>
          </a:p>
        </p:txBody>
      </p:sp>
      <p:sp>
        <p:nvSpPr>
          <p:cNvPr id="6" name="Obdélník 5"/>
          <p:cNvSpPr/>
          <p:nvPr/>
        </p:nvSpPr>
        <p:spPr>
          <a:xfrm>
            <a:off x="0" y="6417748"/>
            <a:ext cx="116502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 P. Schmid, S.Adams, H.S.Rugo, A Schneeweiss et al; Atezolizumab and Nab-Paclitaxel in Advanced Triple- </a:t>
            </a:r>
            <a:r>
              <a:rPr lang="en-US" sz="800" dirty="0" smtClean="0">
                <a:solidFill>
                  <a:srgbClr val="000000"/>
                </a:solidFill>
              </a:rPr>
              <a:t>Negative Breast Cancer; N </a:t>
            </a:r>
            <a:r>
              <a:rPr lang="en-US" sz="800" dirty="0" err="1" smtClean="0">
                <a:solidFill>
                  <a:srgbClr val="000000"/>
                </a:solidFill>
              </a:rPr>
              <a:t>Engl</a:t>
            </a:r>
            <a:r>
              <a:rPr lang="en-US" sz="800" dirty="0" smtClean="0">
                <a:solidFill>
                  <a:srgbClr val="000000"/>
                </a:solidFill>
              </a:rPr>
              <a:t> J Med</a:t>
            </a:r>
            <a:r>
              <a:rPr lang="cs-CZ" sz="800" dirty="0" smtClean="0">
                <a:solidFill>
                  <a:srgbClr val="000000"/>
                </a:solidFill>
              </a:rPr>
              <a:t> 2018,379:2108-21.(Supplemantary appendix),  2.Schmid et al, J Clin Oncol 37, 2019 (suppl; abst 1003), </a:t>
            </a:r>
            <a:r>
              <a:rPr lang="en-US" sz="800" dirty="0" smtClean="0">
                <a:solidFill>
                  <a:srgbClr val="000000"/>
                </a:solidFill>
              </a:rPr>
              <a:t>presented at</a:t>
            </a:r>
            <a:r>
              <a:rPr lang="cs-CZ" sz="800" dirty="0" smtClean="0">
                <a:solidFill>
                  <a:srgbClr val="000000"/>
                </a:solidFill>
              </a:rPr>
              <a:t> ASCO 2019 Annual meeting ,</a:t>
            </a:r>
            <a:r>
              <a:rPr lang="cs-CZ" sz="800" dirty="0" smtClean="0"/>
              <a:t> </a:t>
            </a:r>
            <a:r>
              <a:rPr lang="cs-CZ" sz="800" dirty="0" smtClean="0">
                <a:solidFill>
                  <a:srgbClr val="000000"/>
                </a:solidFill>
              </a:rPr>
              <a:t>3.</a:t>
            </a:r>
            <a:r>
              <a:rPr lang="en-US" sz="800" dirty="0" err="1" smtClean="0">
                <a:solidFill>
                  <a:srgbClr val="000000"/>
                </a:solidFill>
              </a:rPr>
              <a:t>Rugo</a:t>
            </a:r>
            <a:r>
              <a:rPr lang="en-US" sz="800" dirty="0" smtClean="0">
                <a:solidFill>
                  <a:srgbClr val="000000"/>
                </a:solidFill>
              </a:rPr>
              <a:t> et al. Abstract 6571 IMpassion130 PD-L1 IHC</a:t>
            </a:r>
            <a:r>
              <a:rPr lang="cs-CZ" sz="800" dirty="0" smtClean="0">
                <a:solidFill>
                  <a:srgbClr val="000000"/>
                </a:solidFill>
              </a:rPr>
              <a:t>, 4. NCCN clinical practice guidelines in oncology: Breast cancer. Version 1.2019.; 5. Modrá kniha české onkologické společnosti. 6.</a:t>
            </a:r>
            <a:r>
              <a:rPr lang="pt-BR" sz="800" dirty="0">
                <a:solidFill>
                  <a:srgbClr val="000000"/>
                </a:solidFill>
              </a:rPr>
              <a:t> Emens LA. ESMO </a:t>
            </a:r>
            <a:r>
              <a:rPr lang="pt-BR" sz="800" dirty="0" smtClean="0">
                <a:solidFill>
                  <a:srgbClr val="000000"/>
                </a:solidFill>
              </a:rPr>
              <a:t>2020.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pt-BR" sz="800" dirty="0" smtClean="0">
                <a:solidFill>
                  <a:srgbClr val="000000"/>
                </a:solidFill>
              </a:rPr>
              <a:t>IMpassion130 </a:t>
            </a:r>
            <a:r>
              <a:rPr lang="pt-BR" sz="800" dirty="0">
                <a:solidFill>
                  <a:srgbClr val="000000"/>
                </a:solidFill>
              </a:rPr>
              <a:t>Final OS.</a:t>
            </a:r>
            <a:endParaRPr lang="en-US" sz="800" dirty="0" smtClean="0">
              <a:solidFill>
                <a:srgbClr val="000000"/>
              </a:solidFill>
            </a:endParaRPr>
          </a:p>
          <a:p>
            <a:endParaRPr lang="en-US" sz="8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9" name="Obdélník 1"/>
          <p:cNvSpPr/>
          <p:nvPr/>
        </p:nvSpPr>
        <p:spPr>
          <a:xfrm rot="16200000">
            <a:off x="11638484" y="3293338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99558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842672" y="1656170"/>
            <a:ext cx="11349328" cy="691765"/>
          </a:xfrm>
        </p:spPr>
        <p:txBody>
          <a:bodyPr/>
          <a:lstStyle/>
          <a:p>
            <a:r>
              <a:rPr lang="cs-CZ" sz="3200" dirty="0" smtClean="0">
                <a:solidFill>
                  <a:srgbClr val="830065"/>
                </a:solidFill>
              </a:rPr>
              <a:t>IMpassion130</a:t>
            </a:r>
            <a:r>
              <a:rPr lang="cs-CZ" sz="3200" dirty="0">
                <a:solidFill>
                  <a:srgbClr val="830065"/>
                </a:solidFill>
              </a:rPr>
              <a:t/>
            </a:r>
            <a:br>
              <a:rPr lang="cs-CZ" sz="3200" dirty="0">
                <a:solidFill>
                  <a:srgbClr val="830065"/>
                </a:solidFill>
              </a:rPr>
            </a:br>
            <a:r>
              <a:rPr lang="cs-CZ" sz="3200" dirty="0" smtClean="0">
                <a:solidFill>
                  <a:srgbClr val="830065"/>
                </a:solidFill>
              </a:rPr>
              <a:t>- </a:t>
            </a:r>
            <a:r>
              <a:rPr lang="cs-CZ" sz="3200" dirty="0" err="1" smtClean="0">
                <a:solidFill>
                  <a:srgbClr val="830065"/>
                </a:solidFill>
              </a:rPr>
              <a:t>exploratorní</a:t>
            </a:r>
            <a:r>
              <a:rPr lang="cs-CZ" sz="3200" dirty="0" smtClean="0">
                <a:solidFill>
                  <a:srgbClr val="830065"/>
                </a:solidFill>
              </a:rPr>
              <a:t> p</a:t>
            </a:r>
            <a:r>
              <a:rPr lang="en-US" sz="3200" dirty="0" err="1" smtClean="0">
                <a:solidFill>
                  <a:srgbClr val="830065"/>
                </a:solidFill>
              </a:rPr>
              <a:t>ost</a:t>
            </a:r>
            <a:r>
              <a:rPr lang="en-US" sz="3200" dirty="0" smtClean="0">
                <a:solidFill>
                  <a:srgbClr val="830065"/>
                </a:solidFill>
              </a:rPr>
              <a:t> </a:t>
            </a:r>
            <a:r>
              <a:rPr lang="en-US" sz="3200" dirty="0">
                <a:solidFill>
                  <a:srgbClr val="830065"/>
                </a:solidFill>
              </a:rPr>
              <a:t>hoc </a:t>
            </a:r>
            <a:r>
              <a:rPr lang="en-US" sz="3200" dirty="0" err="1" smtClean="0">
                <a:solidFill>
                  <a:srgbClr val="830065"/>
                </a:solidFill>
              </a:rPr>
              <a:t>analýza</a:t>
            </a:r>
            <a:endParaRPr lang="cs-CZ" sz="3200" dirty="0">
              <a:solidFill>
                <a:srgbClr val="830065"/>
              </a:solidFill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421690" y="2990496"/>
            <a:ext cx="10862837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dirty="0" smtClean="0"/>
              <a:t>Ve studii IMpassion130 byla exprese PD-L1 hodnocena metodou IHC na imunitních buňkách testem </a:t>
            </a:r>
            <a:r>
              <a:rPr lang="en-US" sz="1600" dirty="0" smtClean="0"/>
              <a:t>V</a:t>
            </a:r>
            <a:r>
              <a:rPr lang="cs-CZ" sz="1600" dirty="0" err="1"/>
              <a:t>entana</a:t>
            </a:r>
            <a:r>
              <a:rPr lang="en-US" sz="1600" dirty="0"/>
              <a:t> </a:t>
            </a:r>
            <a:r>
              <a:rPr lang="en-US" sz="1600" dirty="0" smtClean="0"/>
              <a:t>SP142</a:t>
            </a:r>
            <a:r>
              <a:rPr lang="cs-CZ" sz="1600" baseline="30000" dirty="0" smtClean="0"/>
              <a:t>1</a:t>
            </a:r>
            <a:endParaRPr lang="cs-CZ" sz="1600" dirty="0" smtClean="0"/>
          </a:p>
          <a:p>
            <a:endParaRPr lang="cs-CZ" sz="1600" dirty="0"/>
          </a:p>
          <a:p>
            <a:r>
              <a:rPr lang="cs-CZ" sz="1600" dirty="0" smtClean="0"/>
              <a:t>Pro </a:t>
            </a:r>
            <a:r>
              <a:rPr lang="cs-CZ" sz="1600" dirty="0"/>
              <a:t>hodnocení PD-L1 </a:t>
            </a:r>
            <a:r>
              <a:rPr lang="cs-CZ" sz="1600" dirty="0" smtClean="0"/>
              <a:t>exprese </a:t>
            </a:r>
            <a:r>
              <a:rPr lang="cs-CZ" sz="1600" b="1" dirty="0" smtClean="0"/>
              <a:t>u jiných indikací než TNBC </a:t>
            </a:r>
            <a:r>
              <a:rPr lang="cs-CZ" sz="1600" dirty="0" smtClean="0"/>
              <a:t>existují </a:t>
            </a:r>
            <a:r>
              <a:rPr lang="cs-CZ" sz="1600" dirty="0"/>
              <a:t>další dva jiné </a:t>
            </a:r>
            <a:r>
              <a:rPr lang="cs-CZ" sz="1600" dirty="0" smtClean="0"/>
              <a:t>komerčně používané </a:t>
            </a:r>
            <a:r>
              <a:rPr lang="cs-CZ" sz="1600" dirty="0"/>
              <a:t>testy: </a:t>
            </a:r>
            <a:r>
              <a:rPr lang="cs-CZ" sz="1600" dirty="0" err="1"/>
              <a:t>Ventana</a:t>
            </a:r>
            <a:r>
              <a:rPr lang="cs-CZ" sz="1600" dirty="0"/>
              <a:t> SP263 a </a:t>
            </a:r>
            <a:r>
              <a:rPr lang="cs-CZ" sz="1600" dirty="0" err="1"/>
              <a:t>Dako</a:t>
            </a:r>
            <a:r>
              <a:rPr lang="cs-CZ" sz="1600" dirty="0"/>
              <a:t> </a:t>
            </a:r>
            <a:r>
              <a:rPr lang="cs-CZ" sz="1600" dirty="0" smtClean="0"/>
              <a:t>22C3</a:t>
            </a:r>
            <a:r>
              <a:rPr lang="cs-CZ" sz="1600" baseline="30000" dirty="0"/>
              <a:t> 1</a:t>
            </a:r>
            <a:endParaRPr lang="cs-CZ" sz="1600" dirty="0" smtClean="0"/>
          </a:p>
          <a:p>
            <a:endParaRPr lang="cs-CZ" sz="1600" dirty="0" smtClean="0"/>
          </a:p>
          <a:p>
            <a:r>
              <a:rPr lang="cs-CZ" sz="1600" dirty="0" smtClean="0"/>
              <a:t>Cílem post-hoc analýzy bylo zjištění </a:t>
            </a:r>
            <a:r>
              <a:rPr lang="cs-CZ" sz="1600" dirty="0"/>
              <a:t>zdali </a:t>
            </a:r>
            <a:r>
              <a:rPr lang="cs-CZ" sz="1600" dirty="0" smtClean="0"/>
              <a:t>tyto tes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smtClean="0"/>
              <a:t> srovnatelně identifikují PD-L1 pozitivní pacien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smtClean="0"/>
              <a:t> srovnatelně identifikují pacienty profitující z léčby </a:t>
            </a:r>
            <a:r>
              <a:rPr lang="cs-CZ" sz="1600" dirty="0"/>
              <a:t>kombinací </a:t>
            </a:r>
            <a:r>
              <a:rPr lang="cs-CZ" sz="1600" dirty="0" err="1" smtClean="0"/>
              <a:t>atezolizumab</a:t>
            </a:r>
            <a:r>
              <a:rPr lang="cs-CZ" sz="1600" dirty="0" smtClean="0"/>
              <a:t> </a:t>
            </a:r>
            <a:r>
              <a:rPr lang="cs-CZ" sz="1600" dirty="0"/>
              <a:t>+ </a:t>
            </a:r>
            <a:r>
              <a:rPr lang="cs-CZ" sz="1600" dirty="0" err="1" smtClean="0"/>
              <a:t>nab-paklitaxel</a:t>
            </a:r>
            <a:r>
              <a:rPr lang="cs-CZ" sz="1600" baseline="30000" dirty="0"/>
              <a:t> 1</a:t>
            </a:r>
            <a:r>
              <a:rPr lang="cs-CZ" sz="1600" dirty="0" smtClean="0"/>
              <a:t>.</a:t>
            </a:r>
          </a:p>
          <a:p>
            <a:endParaRPr lang="cs-CZ" sz="1600" dirty="0"/>
          </a:p>
          <a:p>
            <a:r>
              <a:rPr lang="cs-CZ" sz="1600" dirty="0" smtClean="0"/>
              <a:t>Další cí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smtClean="0"/>
              <a:t>analýza </a:t>
            </a:r>
            <a:r>
              <a:rPr lang="cs-CZ" sz="1600" dirty="0"/>
              <a:t>klinické aktivity vzhledem k původu vzorku (primární tkáň vs. metastáza</a:t>
            </a:r>
            <a:r>
              <a:rPr lang="cs-CZ" sz="1600" dirty="0" smtClean="0"/>
              <a:t>)</a:t>
            </a:r>
            <a:r>
              <a:rPr lang="cs-CZ" sz="1600" baseline="30000" dirty="0"/>
              <a:t> 1</a:t>
            </a:r>
            <a:endParaRPr lang="cs-CZ" sz="1600" dirty="0"/>
          </a:p>
          <a:p>
            <a:endParaRPr lang="cs-CZ" sz="1600" dirty="0" smtClean="0"/>
          </a:p>
          <a:p>
            <a:pPr lvl="1"/>
            <a:endParaRPr lang="cs-CZ" dirty="0"/>
          </a:p>
        </p:txBody>
      </p:sp>
      <p:sp>
        <p:nvSpPr>
          <p:cNvPr id="5" name="Zástupný symbol pro zápatí 2"/>
          <p:cNvSpPr txBox="1">
            <a:spLocks/>
          </p:cNvSpPr>
          <p:nvPr/>
        </p:nvSpPr>
        <p:spPr>
          <a:xfrm>
            <a:off x="91441" y="6689293"/>
            <a:ext cx="11516014" cy="168707"/>
          </a:xfrm>
          <a:prstGeom prst="rect">
            <a:avLst/>
          </a:prstGeom>
        </p:spPr>
        <p:txBody>
          <a:bodyPr vert="horz" lIns="0" tIns="45708" rIns="91416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1066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fr-FR" dirty="0" smtClean="0"/>
              <a:t> </a:t>
            </a:r>
            <a:r>
              <a:rPr lang="fr-FR" sz="800" dirty="0" err="1" smtClean="0">
                <a:solidFill>
                  <a:srgbClr val="000000"/>
                </a:solidFill>
              </a:rPr>
              <a:t>Rugo</a:t>
            </a:r>
            <a:r>
              <a:rPr lang="fr-FR" sz="800" dirty="0" smtClean="0">
                <a:solidFill>
                  <a:srgbClr val="000000"/>
                </a:solidFill>
              </a:rPr>
              <a:t> Et al. ESMO 2019, Abstract 6571, IMpassion130 PD-L1 IHC</a:t>
            </a:r>
            <a:endParaRPr lang="it-IT" sz="800" baseline="30000" dirty="0">
              <a:solidFill>
                <a:srgbClr val="000000"/>
              </a:solidFill>
            </a:endParaRPr>
          </a:p>
        </p:txBody>
      </p:sp>
      <p:cxnSp>
        <p:nvCxnSpPr>
          <p:cNvPr id="6" name="Přímá spojnice 5"/>
          <p:cNvCxnSpPr/>
          <p:nvPr/>
        </p:nvCxnSpPr>
        <p:spPr>
          <a:xfrm flipV="1">
            <a:off x="0" y="2635135"/>
            <a:ext cx="10681855" cy="24938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Obráze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9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61948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esign studie </a:t>
            </a:r>
            <a:r>
              <a:rPr lang="cs-CZ" dirty="0" smtClean="0"/>
              <a:t>IMpassion130</a:t>
            </a:r>
            <a:r>
              <a:rPr lang="cs-CZ" b="0" baseline="30000" dirty="0" smtClean="0"/>
              <a:t>1</a:t>
            </a:r>
            <a:endParaRPr lang="cs-CZ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B572D0B8-E5EC-4003-BFEE-BB41DCCBB440}"/>
              </a:ext>
            </a:extLst>
          </p:cNvPr>
          <p:cNvSpPr txBox="1">
            <a:spLocks/>
          </p:cNvSpPr>
          <p:nvPr/>
        </p:nvSpPr>
        <p:spPr>
          <a:xfrm>
            <a:off x="263180" y="5513216"/>
            <a:ext cx="11201400" cy="1174939"/>
          </a:xfrm>
          <a:prstGeom prst="rect">
            <a:avLst/>
          </a:prstGeom>
        </p:spPr>
        <p:txBody>
          <a:bodyPr vert="horz" lIns="0" tIns="0" rIns="91416" bIns="45708" rtlCol="0">
            <a:noAutofit/>
          </a:bodyPr>
          <a:lstStyle>
            <a:lvl1pPr marL="0" indent="0" algn="l" defTabSz="1217747" rtl="0" eaLnBrk="1" latinLnBrk="0" hangingPunct="1">
              <a:spcBef>
                <a:spcPts val="1332"/>
              </a:spcBef>
              <a:spcAft>
                <a:spcPts val="533"/>
              </a:spcAft>
              <a:buFontTx/>
              <a:buNone/>
              <a:defRPr sz="2131" b="1" i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19871" indent="-219871" algn="l" defTabSz="1217747" rtl="0" eaLnBrk="1" latinLnBrk="0" hangingPunct="1">
              <a:lnSpc>
                <a:spcPct val="90000"/>
              </a:lnSpc>
              <a:spcBef>
                <a:spcPts val="799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tabLst/>
              <a:defRPr sz="2131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11622" indent="-272725" algn="l" defTabSz="12177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66"/>
              </a:spcAft>
              <a:buClr>
                <a:schemeClr val="accent2"/>
              </a:buClr>
              <a:buFont typeface="Arial" pitchFamily="34" charset="0"/>
              <a:buChar char="–"/>
              <a:defRPr sz="1865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84983" indent="-158561" algn="l" defTabSz="12177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66"/>
              </a:spcAft>
              <a:buClr>
                <a:schemeClr val="accent2"/>
              </a:buClr>
              <a:buSzPct val="85000"/>
              <a:buFont typeface="Arial" pitchFamily="34" charset="0"/>
              <a:buChar char="•"/>
              <a:defRPr sz="1599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13310" indent="-211415" algn="l" defTabSz="12177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66"/>
              </a:spcAft>
              <a:buClr>
                <a:schemeClr val="accent2"/>
              </a:buClr>
              <a:buFont typeface="Arial" pitchFamily="34" charset="0"/>
              <a:buChar char="–"/>
              <a:tabLst/>
              <a:defRPr sz="1599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065528" indent="-152219" algn="l" defTabSz="12177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66"/>
              </a:spcAft>
              <a:buClr>
                <a:schemeClr val="accent2"/>
              </a:buClr>
              <a:buSzPct val="85000"/>
              <a:buFont typeface="Arial" pitchFamily="34" charset="0"/>
              <a:buChar char="•"/>
              <a:defRPr sz="1599" kern="1200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6pPr>
            <a:lvl7pPr marL="3957678" indent="-304437" algn="l" defTabSz="12177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6552" indent="-304437" algn="l" defTabSz="12177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5426" indent="-304437" algn="l" defTabSz="12177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dirty="0"/>
          </a:p>
        </p:txBody>
      </p:sp>
      <p:sp>
        <p:nvSpPr>
          <p:cNvPr id="8" name="Rounded Rectangle 6">
            <a:extLst>
              <a:ext uri="{FF2B5EF4-FFF2-40B4-BE49-F238E27FC236}">
                <a16:creationId xmlns:a16="http://schemas.microsoft.com/office/drawing/2014/main" id="{D85C3CF4-00F6-4BF2-9C3E-B3C3077F0D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369" y="1184037"/>
            <a:ext cx="4614792" cy="3005315"/>
          </a:xfrm>
          <a:prstGeom prst="roundRect">
            <a:avLst>
              <a:gd name="adj" fmla="val 11441"/>
            </a:avLst>
          </a:prstGeom>
          <a:solidFill>
            <a:schemeClr val="bg1"/>
          </a:solidFill>
          <a:ln w="28575">
            <a:solidFill>
              <a:schemeClr val="tx1"/>
            </a:solidFill>
            <a:round/>
            <a:headEnd/>
            <a:tailEnd/>
          </a:ln>
          <a:extLst/>
        </p:spPr>
        <p:txBody>
          <a:bodyPr lIns="9144" rIns="9144" anchor="ctr"/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acienti s metastazujícím nebo lokálně pokročilým inoperabilním karcinomem prsu, kteří nebyli léčeni chemoterapií pro pokročilé onemocnění</a:t>
            </a:r>
            <a:r>
              <a:rPr kumimoji="0" lang="en-US" altLang="zh-TW" sz="1400" i="0" u="none" strike="noStrike" kern="1200" cap="none" spc="0" normalizeH="0" baseline="30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</a:t>
            </a:r>
            <a:endParaRPr kumimoji="0" lang="cs-CZ" altLang="zh-TW" sz="1400" i="0" u="none" strike="noStrike" kern="1200" cap="none" spc="0" normalizeH="0" baseline="3000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TW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tratifi</a:t>
            </a:r>
            <a:r>
              <a:rPr kumimoji="0" lang="cs-CZ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kační</a:t>
            </a: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faktory</a:t>
            </a:r>
            <a:r>
              <a:rPr kumimoji="0" lang="en-US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:</a:t>
            </a:r>
            <a:endParaRPr kumimoji="0" lang="en-US" altLang="zh-TW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ředchozí léčba </a:t>
            </a:r>
            <a:r>
              <a:rPr kumimoji="0" lang="cs-CZ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axany</a:t>
            </a: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pro </a:t>
            </a:r>
            <a:r>
              <a:rPr kumimoji="0" lang="cs-CZ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nemetastatické</a:t>
            </a: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onemocnění</a:t>
            </a:r>
            <a:endParaRPr kumimoji="0" lang="en-US" altLang="zh-TW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Jaterní metastázy</a:t>
            </a:r>
            <a:endParaRPr kumimoji="0" lang="en-US" altLang="zh-TW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D-L1 IC status (</a:t>
            </a:r>
            <a:r>
              <a:rPr kumimoji="0" lang="en-US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</a:t>
            </a: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z</a:t>
            </a:r>
            <a:r>
              <a:rPr kumimoji="0" lang="en-US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ti</a:t>
            </a:r>
            <a:r>
              <a:rPr kumimoji="0" lang="cs-CZ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vní</a:t>
            </a:r>
            <a:r>
              <a:rPr kumimoji="0" lang="en-US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[≥ 1%] vs </a:t>
            </a:r>
            <a:r>
              <a:rPr kumimoji="0" lang="en-US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negativ</a:t>
            </a: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ní</a:t>
            </a:r>
            <a:r>
              <a:rPr kumimoji="0" lang="en-US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[&lt;</a:t>
            </a:r>
            <a:r>
              <a:rPr kumimoji="0" lang="en-US" altLang="zh-TW" sz="140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1%])</a:t>
            </a:r>
            <a:r>
              <a:rPr kumimoji="0" lang="en-US" altLang="zh-TW" sz="140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</a:t>
            </a:r>
            <a:endParaRPr kumimoji="0" lang="en-US" altLang="zh-TW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9" name="Rounded Rectangle 9">
            <a:extLst>
              <a:ext uri="{FF2B5EF4-FFF2-40B4-BE49-F238E27FC236}">
                <a16:creationId xmlns:a16="http://schemas.microsoft.com/office/drawing/2014/main" id="{CAAB645A-6D47-4EDE-B734-11AAA4E7CB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3880" y="1027513"/>
            <a:ext cx="3266828" cy="1528696"/>
          </a:xfrm>
          <a:prstGeom prst="roundRect">
            <a:avLst>
              <a:gd name="adj" fmla="val 16667"/>
            </a:avLst>
          </a:prstGeom>
          <a:solidFill>
            <a:srgbClr val="00B0F0"/>
          </a:solidFill>
          <a:ln w="19050">
            <a:noFill/>
            <a:round/>
            <a:headEnd/>
            <a:tailEnd/>
          </a:ln>
          <a:effectLst/>
          <a:extLst/>
        </p:spPr>
        <p:txBody>
          <a:bodyPr lIns="45720" rIns="45720" anchor="ctr"/>
          <a:lstStyle/>
          <a:p>
            <a:pPr marL="285750" lvl="0"/>
            <a:r>
              <a:rPr kumimoji="0" lang="cs-CZ" sz="140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Atezolizumab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840 </a:t>
            </a: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mg 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ve dnech</a:t>
            </a:r>
          </a:p>
          <a:p>
            <a:pPr marL="285750" lvl="0"/>
            <a:r>
              <a:rPr kumimoji="0" lang="cs-CZ" sz="140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1 a 15 během 28denního cyklu</a:t>
            </a:r>
          </a:p>
          <a:p>
            <a:pPr marL="285750" lvl="0"/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+ nab-pa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k</a:t>
            </a:r>
            <a:r>
              <a:rPr kumimoji="0" lang="en-US" sz="140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litaxel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00 </a:t>
            </a: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mg/m</a:t>
            </a:r>
            <a:r>
              <a:rPr kumimoji="0" lang="en-US" sz="140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2</a:t>
            </a: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               ve dnech</a:t>
            </a:r>
            <a:r>
              <a:rPr kumimoji="0" lang="cs-CZ" sz="140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1, 8 a </a:t>
            </a:r>
            <a:r>
              <a:rPr lang="cs-CZ" sz="1400" kern="0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5 </a:t>
            </a:r>
            <a:r>
              <a:rPr lang="cs-CZ" sz="1400" kern="0" dirty="0" smtClean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cs-CZ" sz="1400" kern="0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během 28denního cyklu</a:t>
            </a:r>
          </a:p>
          <a:p>
            <a:pPr marL="285750" lvl="0">
              <a:spcAft>
                <a:spcPts val="600"/>
              </a:spcAft>
            </a:pPr>
            <a:endParaRPr kumimoji="0" lang="en-US" altLang="zh-TW" sz="120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B49E99D3-BEF8-4257-A69F-0120C9E2E9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3880" y="2903425"/>
            <a:ext cx="3266828" cy="1344413"/>
          </a:xfrm>
          <a:prstGeom prst="roundRect">
            <a:avLst>
              <a:gd name="adj" fmla="val 16667"/>
            </a:avLst>
          </a:prstGeom>
          <a:solidFill>
            <a:srgbClr val="ED1C24"/>
          </a:solidFill>
          <a:ln w="19050">
            <a:noFill/>
            <a:round/>
            <a:headEnd/>
            <a:tailEnd/>
          </a:ln>
          <a:effectLst/>
          <a:extLst/>
        </p:spPr>
        <p:txBody>
          <a:bodyPr lIns="45720" rIns="45720" anchor="ctr"/>
          <a:lstStyle/>
          <a:p>
            <a:pPr marL="339725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Placebo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cs-CZ" sz="1400" kern="0" dirty="0" smtClean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ve </a:t>
            </a:r>
            <a:r>
              <a:rPr lang="cs-CZ" sz="14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dnech </a:t>
            </a:r>
            <a:r>
              <a:rPr lang="cs-CZ" sz="1400" kern="0" dirty="0" smtClean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 </a:t>
            </a:r>
            <a:r>
              <a:rPr lang="cs-CZ" sz="14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a 15 </a:t>
            </a:r>
            <a:r>
              <a:rPr lang="cs-CZ" sz="1400" kern="0" dirty="0" smtClean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cs-CZ" sz="14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během 28denního cyklu</a:t>
            </a:r>
          </a:p>
          <a:p>
            <a:pPr marL="285750" lvl="0">
              <a:spcAft>
                <a:spcPts val="600"/>
              </a:spcAft>
            </a:pP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+ nab-pa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k</a:t>
            </a:r>
            <a:r>
              <a:rPr kumimoji="0" lang="en-US" sz="140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litaxel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00 </a:t>
            </a: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mg/m</a:t>
            </a:r>
            <a:r>
              <a:rPr kumimoji="0" lang="en-US" sz="140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2</a:t>
            </a: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1400" kern="0" dirty="0" smtClean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cs-CZ" sz="1400" kern="0" dirty="0" smtClean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                ve </a:t>
            </a:r>
            <a:r>
              <a:rPr lang="cs-CZ" sz="14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dnech 1, 8 a 15 </a:t>
            </a:r>
            <a:r>
              <a:rPr lang="en-US" sz="1400" kern="0" baseline="30000" dirty="0" smtClea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cs-CZ" sz="1400" kern="0" baseline="30000" dirty="0" smtClean="0">
                <a:solidFill>
                  <a:srgbClr val="FFFFFF"/>
                </a:solidFill>
                <a:ea typeface="Arial"/>
                <a:cs typeface="Arial"/>
                <a:sym typeface="Arial"/>
              </a:rPr>
              <a:t>  </a:t>
            </a:r>
            <a:r>
              <a:rPr lang="cs-CZ" sz="14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během 28denního cyklu</a:t>
            </a:r>
          </a:p>
          <a:p>
            <a:pPr marL="285750">
              <a:spcAft>
                <a:spcPts val="600"/>
              </a:spcAft>
            </a:pPr>
            <a:endParaRPr lang="en-US" altLang="zh-TW" sz="1400" baseline="30000" dirty="0">
              <a:solidFill>
                <a:srgbClr val="FFFFFF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1" name="Rectangle 20">
            <a:extLst>
              <a:ext uri="{FF2B5EF4-FFF2-40B4-BE49-F238E27FC236}">
                <a16:creationId xmlns:a16="http://schemas.microsoft.com/office/drawing/2014/main" id="{2C69D50F-5E78-4CE8-BA8E-99C32D8BEA79}"/>
              </a:ext>
            </a:extLst>
          </p:cNvPr>
          <p:cNvSpPr/>
          <p:nvPr/>
        </p:nvSpPr>
        <p:spPr>
          <a:xfrm>
            <a:off x="5863880" y="2587495"/>
            <a:ext cx="29260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Dvojitě zaslepená</a:t>
            </a:r>
            <a:r>
              <a:rPr kumimoji="0" lang="en-US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; crossover </a:t>
            </a:r>
            <a:r>
              <a:rPr kumimoji="0" lang="cs-CZ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zakázán</a:t>
            </a:r>
            <a:endParaRPr kumimoji="0" lang="en-US" alt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2" name="Straight Arrow Connector 16">
            <a:extLst>
              <a:ext uri="{FF2B5EF4-FFF2-40B4-BE49-F238E27FC236}">
                <a16:creationId xmlns:a16="http://schemas.microsoft.com/office/drawing/2014/main" id="{9485B2AF-E6FA-460C-B8D6-814C9E56B609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9130708" y="1791861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7">
            <a:extLst>
              <a:ext uri="{FF2B5EF4-FFF2-40B4-BE49-F238E27FC236}">
                <a16:creationId xmlns:a16="http://schemas.microsoft.com/office/drawing/2014/main" id="{9139BA7B-A3FD-40A0-9FB1-B3DD836F40A4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9130708" y="3575632"/>
            <a:ext cx="425853" cy="6276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0">
            <a:extLst>
              <a:ext uri="{FF2B5EF4-FFF2-40B4-BE49-F238E27FC236}">
                <a16:creationId xmlns:a16="http://schemas.microsoft.com/office/drawing/2014/main" id="{FCBA0A60-4D3B-4AC5-92DC-3866E813A4B3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 flipV="1">
            <a:off x="5022161" y="1791861"/>
            <a:ext cx="841719" cy="894834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6">
            <a:extLst>
              <a:ext uri="{FF2B5EF4-FFF2-40B4-BE49-F238E27FC236}">
                <a16:creationId xmlns:a16="http://schemas.microsoft.com/office/drawing/2014/main" id="{8F0C58DB-2498-444F-97C9-13225747C6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4687" y="1181100"/>
            <a:ext cx="1583459" cy="3009901"/>
          </a:xfrm>
          <a:prstGeom prst="roundRect">
            <a:avLst>
              <a:gd name="adj" fmla="val 11441"/>
            </a:avLst>
          </a:prstGeom>
          <a:solidFill>
            <a:schemeClr val="bg1"/>
          </a:solidFill>
          <a:ln w="28575">
            <a:solidFill>
              <a:schemeClr val="tx1"/>
            </a:solidFill>
            <a:round/>
            <a:headEnd/>
            <a:tailEnd/>
          </a:ln>
          <a:extLst/>
        </p:spPr>
        <p:txBody>
          <a:bodyPr lIns="9144" rIns="9144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éčba do progrese</a:t>
            </a:r>
            <a: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/>
            </a:r>
            <a:b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</a:b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dle</a:t>
            </a:r>
            <a:r>
              <a:rPr kumimoji="0" lang="en-US" altLang="zh-TW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CIST 1.1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nebo do nepřijatelné toxicity</a:t>
            </a:r>
            <a:r>
              <a:rPr kumimoji="0" lang="en-US" altLang="zh-TW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endParaRPr kumimoji="0" lang="en-US" altLang="zh-TW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7" name="Isosceles Triangle 80">
            <a:extLst>
              <a:ext uri="{FF2B5EF4-FFF2-40B4-BE49-F238E27FC236}">
                <a16:creationId xmlns:a16="http://schemas.microsoft.com/office/drawing/2014/main" id="{1C008FAE-D2E2-45EB-9A70-63AD2477A84E}"/>
              </a:ext>
            </a:extLst>
          </p:cNvPr>
          <p:cNvSpPr/>
          <p:nvPr/>
        </p:nvSpPr>
        <p:spPr>
          <a:xfrm rot="5400000">
            <a:off x="9616585" y="2548709"/>
            <a:ext cx="2996860" cy="284432"/>
          </a:xfrm>
          <a:prstGeom prst="triangle">
            <a:avLst>
              <a:gd name="adj" fmla="val 50000"/>
            </a:avLst>
          </a:prstGeom>
          <a:solidFill>
            <a:schemeClr val="tx1">
              <a:lumMod val="20000"/>
              <a:lumOff val="80000"/>
            </a:schemeClr>
          </a:solidFill>
          <a:effectLst/>
        </p:spPr>
        <p:txBody>
          <a:bodyPr lIns="47999" tIns="23999" rIns="47999" bIns="23999" anchor="ctr"/>
          <a:lstStyle/>
          <a:p>
            <a:pPr marL="0" marR="0" lvl="0" indent="0" algn="ctr" defTabSz="685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0" cap="none" spc="0" normalizeH="0" baseline="0" noProof="0" dirty="0">
              <a:ln w="12700">
                <a:solidFill>
                  <a:srgbClr val="1F497D">
                    <a:satMod val="155000"/>
                  </a:srgbClr>
                </a:solidFill>
                <a:prstDash val="solid"/>
              </a:ln>
              <a:solidFill>
                <a:prstClr val="black">
                  <a:lumMod val="65000"/>
                  <a:lumOff val="35000"/>
                </a:prst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 panose="020B0604020202020204" pitchFamily="34" charset="0"/>
              <a:ea typeface="ＭＳ Ｐゴシック" pitchFamily="-107" charset="-128"/>
              <a:cs typeface="Arial" panose="020B0604020202020204" pitchFamily="34" charset="0"/>
            </a:endParaRPr>
          </a:p>
        </p:txBody>
      </p:sp>
      <p:sp>
        <p:nvSpPr>
          <p:cNvPr id="21" name="Rounded Rectangle 9">
            <a:extLst>
              <a:ext uri="{FF2B5EF4-FFF2-40B4-BE49-F238E27FC236}">
                <a16:creationId xmlns:a16="http://schemas.microsoft.com/office/drawing/2014/main" id="{34C04736-DD73-41A5-859C-9FFC135ACF7E}"/>
              </a:ext>
            </a:extLst>
          </p:cNvPr>
          <p:cNvSpPr/>
          <p:nvPr/>
        </p:nvSpPr>
        <p:spPr>
          <a:xfrm>
            <a:off x="11291777" y="1180770"/>
            <a:ext cx="413037" cy="3010232"/>
          </a:xfrm>
          <a:prstGeom prst="roundRect">
            <a:avLst/>
          </a:prstGeom>
          <a:solidFill>
            <a:srgbClr val="83006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follow-up</a:t>
            </a:r>
            <a:endParaRPr kumimoji="0" lang="en-SG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4" name="Obdélník 23"/>
          <p:cNvSpPr/>
          <p:nvPr/>
        </p:nvSpPr>
        <p:spPr>
          <a:xfrm>
            <a:off x="80113" y="5736929"/>
            <a:ext cx="114335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kern="0" baseline="3000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a</a:t>
            </a:r>
            <a:r>
              <a:rPr lang="en-U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 Prior chemotherapy in the curative setting allowed if treatment-free interval ≥ 12 months. </a:t>
            </a:r>
            <a:r>
              <a:rPr lang="en-US" sz="800" kern="0" baseline="3000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</a:t>
            </a:r>
            <a:r>
              <a:rPr lang="en-U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 28-day cycle. </a:t>
            </a:r>
            <a:r>
              <a:rPr lang="en-US" sz="800" kern="0" baseline="3000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c</a:t>
            </a:r>
            <a:r>
              <a:rPr lang="en-U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 Centrally evaluated per VENTANA SP142 IHC assay. </a:t>
            </a:r>
            <a:br>
              <a:rPr lang="en-U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</a:br>
            <a:r>
              <a:rPr lang="cs-CZ" sz="800" dirty="0" smtClean="0">
                <a:solidFill>
                  <a:srgbClr val="000000"/>
                </a:solidFill>
              </a:rPr>
              <a:t>IC - </a:t>
            </a:r>
            <a:r>
              <a:rPr lang="en-GB" sz="800" dirty="0">
                <a:solidFill>
                  <a:srgbClr val="000000"/>
                </a:solidFill>
              </a:rPr>
              <a:t>tum</a:t>
            </a:r>
            <a:r>
              <a:rPr lang="cs-CZ" sz="800" dirty="0" err="1">
                <a:solidFill>
                  <a:srgbClr val="000000"/>
                </a:solidFill>
              </a:rPr>
              <a:t>or</a:t>
            </a:r>
            <a:r>
              <a:rPr lang="cs-CZ" sz="800" dirty="0">
                <a:solidFill>
                  <a:srgbClr val="000000"/>
                </a:solidFill>
              </a:rPr>
              <a:t> infiltrující imunitní buňky</a:t>
            </a:r>
          </a:p>
          <a:p>
            <a:endParaRPr lang="en-US" sz="800" strike="sngStrike" kern="0" dirty="0">
              <a:ea typeface="Arial"/>
              <a:cs typeface="Arial"/>
              <a:sym typeface="Arial"/>
            </a:endParaRPr>
          </a:p>
        </p:txBody>
      </p:sp>
      <p:cxnSp>
        <p:nvCxnSpPr>
          <p:cNvPr id="25" name="Connector: Elbow 11">
            <a:extLst>
              <a:ext uri="{FF2B5EF4-FFF2-40B4-BE49-F238E27FC236}">
                <a16:creationId xmlns:a16="http://schemas.microsoft.com/office/drawing/2014/main" id="{0869C10D-CC27-4E54-9348-48EDE6AA1488}"/>
              </a:ext>
            </a:extLst>
          </p:cNvPr>
          <p:cNvCxnSpPr>
            <a:cxnSpLocks/>
          </p:cNvCxnSpPr>
          <p:nvPr/>
        </p:nvCxnSpPr>
        <p:spPr>
          <a:xfrm>
            <a:off x="5022161" y="2817560"/>
            <a:ext cx="841719" cy="764348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Oval 12">
            <a:extLst>
              <a:ext uri="{FF2B5EF4-FFF2-40B4-BE49-F238E27FC236}">
                <a16:creationId xmlns:a16="http://schemas.microsoft.com/office/drawing/2014/main" id="{18360BE6-53CE-4D63-BAFE-6B3206CED77E}"/>
              </a:ext>
            </a:extLst>
          </p:cNvPr>
          <p:cNvSpPr/>
          <p:nvPr/>
        </p:nvSpPr>
        <p:spPr>
          <a:xfrm>
            <a:off x="5180917" y="2448113"/>
            <a:ext cx="457200" cy="4572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:1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Obdélník 28"/>
          <p:cNvSpPr/>
          <p:nvPr/>
        </p:nvSpPr>
        <p:spPr>
          <a:xfrm>
            <a:off x="0" y="6631282"/>
            <a:ext cx="1183159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 P</a:t>
            </a:r>
            <a:r>
              <a:rPr lang="cs-CZ" sz="800" dirty="0">
                <a:solidFill>
                  <a:srgbClr val="000000"/>
                </a:solidFill>
              </a:rPr>
              <a:t>. Schmid, </a:t>
            </a:r>
            <a:r>
              <a:rPr lang="cs-CZ" sz="800" dirty="0" err="1">
                <a:solidFill>
                  <a:srgbClr val="000000"/>
                </a:solidFill>
              </a:rPr>
              <a:t>S.Adams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err="1">
                <a:solidFill>
                  <a:srgbClr val="000000"/>
                </a:solidFill>
              </a:rPr>
              <a:t>H.S.Rugo</a:t>
            </a:r>
            <a:r>
              <a:rPr lang="cs-CZ" sz="800" dirty="0">
                <a:solidFill>
                  <a:srgbClr val="000000"/>
                </a:solidFill>
              </a:rPr>
              <a:t>, A </a:t>
            </a:r>
            <a:r>
              <a:rPr lang="cs-CZ" sz="800" dirty="0" err="1">
                <a:solidFill>
                  <a:srgbClr val="000000"/>
                </a:solidFill>
              </a:rPr>
              <a:t>Schneeweiss</a:t>
            </a:r>
            <a:r>
              <a:rPr lang="cs-CZ" sz="800" dirty="0">
                <a:solidFill>
                  <a:srgbClr val="000000"/>
                </a:solidFill>
              </a:rPr>
              <a:t> et al; </a:t>
            </a:r>
            <a:r>
              <a:rPr lang="cs-CZ" sz="800" dirty="0" err="1">
                <a:solidFill>
                  <a:srgbClr val="000000"/>
                </a:solidFill>
              </a:rPr>
              <a:t>Atezolizumab</a:t>
            </a:r>
            <a:r>
              <a:rPr lang="cs-CZ" sz="800" dirty="0">
                <a:solidFill>
                  <a:srgbClr val="000000"/>
                </a:solidFill>
              </a:rPr>
              <a:t> and </a:t>
            </a:r>
            <a:r>
              <a:rPr lang="cs-CZ" sz="800" dirty="0" err="1">
                <a:solidFill>
                  <a:srgbClr val="000000"/>
                </a:solidFill>
              </a:rPr>
              <a:t>Nab-Paclitaxel</a:t>
            </a:r>
            <a:r>
              <a:rPr lang="cs-CZ" sz="800" dirty="0">
                <a:solidFill>
                  <a:srgbClr val="000000"/>
                </a:solidFill>
              </a:rPr>
              <a:t> in </a:t>
            </a:r>
            <a:r>
              <a:rPr lang="cs-CZ" sz="800" dirty="0" err="1">
                <a:solidFill>
                  <a:srgbClr val="000000"/>
                </a:solidFill>
              </a:rPr>
              <a:t>Advanced</a:t>
            </a:r>
            <a:r>
              <a:rPr lang="cs-CZ" sz="800" dirty="0">
                <a:solidFill>
                  <a:srgbClr val="000000"/>
                </a:solidFill>
              </a:rPr>
              <a:t> Triple- </a:t>
            </a:r>
            <a:r>
              <a:rPr lang="en-US" sz="800" dirty="0">
                <a:solidFill>
                  <a:srgbClr val="000000"/>
                </a:solidFill>
              </a:rPr>
              <a:t>Negative Breast Cancer; N </a:t>
            </a:r>
            <a:r>
              <a:rPr lang="en-US" sz="800" dirty="0" err="1">
                <a:solidFill>
                  <a:srgbClr val="000000"/>
                </a:solidFill>
              </a:rPr>
              <a:t>Engl</a:t>
            </a:r>
            <a:r>
              <a:rPr lang="en-US" sz="800" dirty="0">
                <a:solidFill>
                  <a:srgbClr val="000000"/>
                </a:solidFill>
              </a:rPr>
              <a:t> J Med</a:t>
            </a:r>
            <a:r>
              <a:rPr lang="cs-CZ" sz="800" dirty="0">
                <a:solidFill>
                  <a:srgbClr val="000000"/>
                </a:solidFill>
              </a:rPr>
              <a:t> 2018,379:2108-21.(</a:t>
            </a:r>
            <a:r>
              <a:rPr lang="cs-CZ" sz="800" dirty="0" err="1">
                <a:solidFill>
                  <a:srgbClr val="000000"/>
                </a:solidFill>
              </a:rPr>
              <a:t>Supplemantary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err="1" smtClean="0">
                <a:solidFill>
                  <a:srgbClr val="000000"/>
                </a:solidFill>
              </a:rPr>
              <a:t>appendix</a:t>
            </a:r>
            <a:r>
              <a:rPr lang="cs-CZ" sz="800" dirty="0" smtClean="0">
                <a:solidFill>
                  <a:srgbClr val="000000"/>
                </a:solidFill>
              </a:rPr>
              <a:t>)</a:t>
            </a:r>
          </a:p>
        </p:txBody>
      </p:sp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3710105"/>
              </p:ext>
            </p:extLst>
          </p:nvPr>
        </p:nvGraphicFramePr>
        <p:xfrm>
          <a:off x="407369" y="4351023"/>
          <a:ext cx="10964442" cy="125029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0964442">
                  <a:extLst>
                    <a:ext uri="{9D8B030D-6E8A-4147-A177-3AD203B41FA5}">
                      <a16:colId xmlns:a16="http://schemas.microsoft.com/office/drawing/2014/main" val="3906174117"/>
                    </a:ext>
                  </a:extLst>
                </a:gridCol>
              </a:tblGrid>
              <a:tr h="708563">
                <a:tc>
                  <a:txBody>
                    <a:bodyPr/>
                    <a:lstStyle/>
                    <a:p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Společné primární cílové parametry účinnosti zahrnovaly zkoušejícím lékařem posuzované přežití bez progrese (PFS) v populaci ITT                a u pacientů s nádory s PD-L1 expresí ≥ 1 % dle kritérií RECIST v1.1 a také celkové přežití (OS) v populaci ITT a u pacientů s nádory s PD-L1 expresí ≥ 1 %</a:t>
                      </a:r>
                      <a:r>
                        <a:rPr lang="cs-CZ" sz="1400" b="0" baseline="300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. </a:t>
                      </a:r>
                      <a:endParaRPr lang="cs-CZ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394984"/>
                  </a:ext>
                </a:extLst>
              </a:tr>
              <a:tr h="518772">
                <a:tc>
                  <a:txBody>
                    <a:bodyPr/>
                    <a:lstStyle/>
                    <a:p>
                      <a:pPr marL="0" marR="0" lvl="0" indent="0" algn="l" defTabSz="12177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Sekundární cílové parametry účinnosti zahrnovaly výskyt objektivní odpovědi (ORR) a trvání odpovědi (DOR) dle kritérií RECIST v1.1</a:t>
                      </a:r>
                      <a:r>
                        <a:rPr lang="cs-CZ" sz="1400" b="0" baseline="300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. </a:t>
                      </a:r>
                      <a:endParaRPr lang="cs-CZ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3938760"/>
                  </a:ext>
                </a:extLst>
              </a:tr>
            </a:tbl>
          </a:graphicData>
        </a:graphic>
      </p:graphicFrame>
      <p:pic>
        <p:nvPicPr>
          <p:cNvPr id="22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3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67649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AEC94DC0-DF79-4293-9833-F2765AFA28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1844664"/>
              </p:ext>
            </p:extLst>
          </p:nvPr>
        </p:nvGraphicFramePr>
        <p:xfrm>
          <a:off x="8162668" y="3810723"/>
          <a:ext cx="3681419" cy="27865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3" name="TextovéPole 52"/>
          <p:cNvSpPr txBox="1"/>
          <p:nvPr/>
        </p:nvSpPr>
        <p:spPr>
          <a:xfrm>
            <a:off x="7169748" y="4056423"/>
            <a:ext cx="2076475" cy="18158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cs-CZ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so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(64%)</a:t>
            </a:r>
            <a:endParaRPr lang="cs-CZ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cs-C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ymf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zlina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(12%)</a:t>
            </a:r>
            <a:endParaRPr lang="cs-CZ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>
              <a:lnSpc>
                <a:spcPct val="150000"/>
              </a:lnSpc>
            </a:pPr>
            <a:r>
              <a:rPr lang="cs-C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líce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(6%)</a:t>
            </a:r>
            <a:endParaRPr lang="cs-CZ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>
              <a:lnSpc>
                <a:spcPct val="150000"/>
              </a:lnSpc>
            </a:pPr>
            <a:r>
              <a:rPr lang="cs-C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Játra (5%)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kké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káně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(4%)</a:t>
            </a:r>
          </a:p>
          <a:p>
            <a:pPr algn="r"/>
            <a:r>
              <a:rPr lang="cs-C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Kůže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(2%)</a:t>
            </a:r>
          </a:p>
          <a:p>
            <a:pPr algn="r"/>
            <a:r>
              <a:rPr lang="cs-C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iné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(6%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4">
            <a:extLst>
              <a:ext uri="{FF2B5EF4-FFF2-40B4-BE49-F238E27FC236}">
                <a16:creationId xmlns:a16="http://schemas.microsoft.com/office/drawing/2014/main" id="{87402ACF-33FC-4306-8E7C-02E6266A45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149861"/>
              </p:ext>
            </p:extLst>
          </p:nvPr>
        </p:nvGraphicFramePr>
        <p:xfrm>
          <a:off x="220975" y="854257"/>
          <a:ext cx="7229312" cy="45567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87680">
                  <a:extLst>
                    <a:ext uri="{9D8B030D-6E8A-4147-A177-3AD203B41FA5}">
                      <a16:colId xmlns:a16="http://schemas.microsoft.com/office/drawing/2014/main" val="1698482474"/>
                    </a:ext>
                  </a:extLst>
                </a:gridCol>
                <a:gridCol w="3370816">
                  <a:extLst>
                    <a:ext uri="{9D8B030D-6E8A-4147-A177-3AD203B41FA5}">
                      <a16:colId xmlns:a16="http://schemas.microsoft.com/office/drawing/2014/main" val="3704104138"/>
                    </a:ext>
                  </a:extLst>
                </a:gridCol>
                <a:gridCol w="3370816">
                  <a:extLst>
                    <a:ext uri="{9D8B030D-6E8A-4147-A177-3AD203B41FA5}">
                      <a16:colId xmlns:a16="http://schemas.microsoft.com/office/drawing/2014/main" val="1009923009"/>
                    </a:ext>
                  </a:extLst>
                </a:gridCol>
              </a:tblGrid>
              <a:tr h="411480">
                <a:tc>
                  <a:txBody>
                    <a:bodyPr/>
                    <a:lstStyle/>
                    <a:p>
                      <a:pPr algn="ctr"/>
                      <a:endParaRPr lang="en-US" sz="1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9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Účinnost</a:t>
                      </a:r>
                      <a:r>
                        <a:rPr lang="en-US" sz="19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 </a:t>
                      </a:r>
                      <a:r>
                        <a:rPr lang="en-US" sz="1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D-L1 IC+</a:t>
                      </a:r>
                      <a:endParaRPr lang="en-US" sz="1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262337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endParaRPr lang="en-US" sz="1900" dirty="0"/>
                    </a:p>
                  </a:txBody>
                  <a:tcPr marL="121920" marR="121920" marT="60960" marB="6096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S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</a:t>
                      </a:r>
                    </a:p>
                  </a:txBody>
                  <a:tcPr marL="121920" marR="121920" marT="60960" marB="6096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938967"/>
                  </a:ext>
                </a:extLst>
              </a:tr>
              <a:tr h="18288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mární</a:t>
                      </a:r>
                      <a:r>
                        <a:rPr lang="en-US" sz="1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9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káň</a:t>
                      </a:r>
                      <a:endParaRPr lang="en-US" sz="1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vert="vert27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036292"/>
                  </a:ext>
                </a:extLst>
              </a:tr>
              <a:tr h="18288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astáza</a:t>
                      </a:r>
                      <a:endParaRPr lang="en-US" sz="1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vert="vert27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395749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91CD524-0036-4549-957A-F3982A9758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99" y="242906"/>
            <a:ext cx="9817100" cy="553999"/>
          </a:xfrm>
        </p:spPr>
        <p:txBody>
          <a:bodyPr>
            <a:noAutofit/>
          </a:bodyPr>
          <a:lstStyle/>
          <a:p>
            <a:r>
              <a:rPr lang="en-US" sz="2600" dirty="0">
                <a:latin typeface="+mj-lt"/>
              </a:rPr>
              <a:t>PD-L1 status:  </a:t>
            </a:r>
            <a:r>
              <a:rPr lang="en-US" sz="2600" dirty="0" err="1">
                <a:latin typeface="+mj-lt"/>
              </a:rPr>
              <a:t>primární</a:t>
            </a:r>
            <a:r>
              <a:rPr lang="en-US" sz="2600" dirty="0">
                <a:latin typeface="+mj-lt"/>
              </a:rPr>
              <a:t> </a:t>
            </a:r>
            <a:r>
              <a:rPr lang="en-US" sz="2600" dirty="0" err="1">
                <a:latin typeface="+mj-lt"/>
              </a:rPr>
              <a:t>tkáň</a:t>
            </a:r>
            <a:r>
              <a:rPr lang="en-US" sz="2600" dirty="0">
                <a:latin typeface="+mj-lt"/>
              </a:rPr>
              <a:t> vs </a:t>
            </a:r>
            <a:r>
              <a:rPr lang="en-US" sz="2600" dirty="0" err="1" smtClean="0">
                <a:latin typeface="+mj-lt"/>
              </a:rPr>
              <a:t>metastáza</a:t>
            </a:r>
            <a:r>
              <a:rPr lang="cs-CZ" sz="2800" baseline="30000" dirty="0" smtClean="0">
                <a:solidFill>
                  <a:srgbClr val="830065"/>
                </a:solidFill>
              </a:rPr>
              <a:t>1</a:t>
            </a:r>
            <a:r>
              <a:rPr lang="en-US" sz="2600" dirty="0" smtClean="0"/>
              <a:t> </a:t>
            </a:r>
            <a:endParaRPr lang="en-US" sz="26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1471A2-0908-4D29-81B0-F1EB3C609FC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1673" y="6323281"/>
            <a:ext cx="10185400" cy="280483"/>
          </a:xfrm>
        </p:spPr>
        <p:txBody>
          <a:bodyPr>
            <a:noAutofit/>
          </a:bodyPr>
          <a:lstStyle/>
          <a:p>
            <a:r>
              <a:rPr lang="en-US" sz="700" baseline="30000" dirty="0"/>
              <a:t>a</a:t>
            </a:r>
            <a:r>
              <a:rPr lang="en-US" sz="700" dirty="0"/>
              <a:t> Evaluable population (n = 901). PD-L1 IC+: PD-L1 in ≥ 1% of IC as percentage of tumour area assessed with the VENTANA SP142 assay. </a:t>
            </a:r>
            <a:br>
              <a:rPr lang="en-US" sz="700" dirty="0"/>
            </a:br>
            <a:r>
              <a:rPr lang="en-US" sz="700" dirty="0"/>
              <a:t>HRs adjusted for prior taxanes, presence of liver metastases, age and ECOG PS. No major differences were observed for clinical benefit in samples collected </a:t>
            </a:r>
            <a:br>
              <a:rPr lang="en-US" sz="700" dirty="0"/>
            </a:br>
            <a:r>
              <a:rPr lang="en-US" sz="700" dirty="0"/>
              <a:t>within 61 days of randomization or beyond that period (</a:t>
            </a:r>
            <a:r>
              <a:rPr lang="en-US" sz="700" dirty="0" err="1"/>
              <a:t>Emens</a:t>
            </a:r>
            <a:r>
              <a:rPr lang="en-US" sz="700" dirty="0"/>
              <a:t>, et al, manuscript in preparation).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832DFE8-2FB5-4750-B7D3-EA13C635C199}"/>
              </a:ext>
            </a:extLst>
          </p:cNvPr>
          <p:cNvGrpSpPr/>
          <p:nvPr/>
        </p:nvGrpSpPr>
        <p:grpSpPr>
          <a:xfrm>
            <a:off x="3186214" y="5376888"/>
            <a:ext cx="1942342" cy="451276"/>
            <a:chOff x="5485988" y="4782242"/>
            <a:chExt cx="1456757" cy="338457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3E12655-E5E0-4FE9-93A9-2CC2718991F3}"/>
                </a:ext>
              </a:extLst>
            </p:cNvPr>
            <p:cNvSpPr txBox="1"/>
            <p:nvPr/>
          </p:nvSpPr>
          <p:spPr>
            <a:xfrm>
              <a:off x="5599588" y="4782242"/>
              <a:ext cx="1343157" cy="3384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933" dirty="0" err="1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ezolizumab</a:t>
              </a:r>
              <a:r>
                <a:rPr lang="en-US" sz="933" dirty="0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933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</a:t>
              </a:r>
              <a:r>
                <a:rPr lang="en-US" sz="933" i="1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b</a:t>
              </a:r>
              <a:r>
                <a:rPr lang="en-US" sz="933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aklitaxel</a:t>
              </a:r>
              <a:endParaRPr lang="en-US" sz="933" dirty="0" smtClean="0">
                <a:solidFill>
                  <a:srgbClr val="3953A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609585"/>
              <a:r>
                <a:rPr lang="en-US" sz="933" dirty="0" smtClean="0">
                  <a:solidFill>
                    <a:srgbClr val="ED1C2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bo </a:t>
              </a:r>
              <a:r>
                <a:rPr lang="en-US" sz="933" smtClean="0">
                  <a:solidFill>
                    <a:srgbClr val="ED1C2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</a:t>
              </a:r>
              <a:r>
                <a:rPr lang="en-US" sz="933" i="1" smtClean="0">
                  <a:solidFill>
                    <a:srgbClr val="ED1C2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b</a:t>
              </a:r>
              <a:r>
                <a:rPr lang="en-US" sz="933" smtClean="0">
                  <a:solidFill>
                    <a:srgbClr val="ED1C2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aklitaxel</a:t>
              </a:r>
              <a:endParaRPr lang="en-US" sz="933" dirty="0">
                <a:solidFill>
                  <a:srgbClr val="ED1C2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1CBFC2C-07A3-4BAC-A5B3-3C025D3E01B1}"/>
                </a:ext>
              </a:extLst>
            </p:cNvPr>
            <p:cNvCxnSpPr/>
            <p:nvPr/>
          </p:nvCxnSpPr>
          <p:spPr>
            <a:xfrm>
              <a:off x="5485988" y="4881270"/>
              <a:ext cx="139972" cy="0"/>
            </a:xfrm>
            <a:prstGeom prst="line">
              <a:avLst/>
            </a:prstGeom>
            <a:ln>
              <a:solidFill>
                <a:srgbClr val="3953A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2A62E42-47B0-47D0-89D6-3D500E8A2380}"/>
                </a:ext>
              </a:extLst>
            </p:cNvPr>
            <p:cNvCxnSpPr/>
            <p:nvPr/>
          </p:nvCxnSpPr>
          <p:spPr>
            <a:xfrm>
              <a:off x="5485988" y="4979186"/>
              <a:ext cx="139972" cy="0"/>
            </a:xfrm>
            <a:prstGeom prst="line">
              <a:avLst/>
            </a:prstGeom>
            <a:ln>
              <a:solidFill>
                <a:srgbClr val="ED1C2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4211267-F2C4-440B-A7A8-97C9F79E7F18}"/>
              </a:ext>
            </a:extLst>
          </p:cNvPr>
          <p:cNvGrpSpPr/>
          <p:nvPr/>
        </p:nvGrpSpPr>
        <p:grpSpPr>
          <a:xfrm>
            <a:off x="700549" y="1752609"/>
            <a:ext cx="6714065" cy="3630308"/>
            <a:chOff x="3947869" y="1497340"/>
            <a:chExt cx="5035549" cy="2722731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56551BBE-0C00-40BD-B9EE-69132489E3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77186" y="1704239"/>
              <a:ext cx="2391161" cy="1016815"/>
            </a:xfrm>
            <a:prstGeom prst="rect">
              <a:avLst/>
            </a:prstGeom>
          </p:spPr>
        </p:pic>
        <p:pic>
          <p:nvPicPr>
            <p:cNvPr id="40" name="Picture 39" descr="A close up of a black background&#10;&#10;Description automatically generated">
              <a:extLst>
                <a:ext uri="{FF2B5EF4-FFF2-40B4-BE49-F238E27FC236}">
                  <a16:creationId xmlns:a16="http://schemas.microsoft.com/office/drawing/2014/main" id="{9AA7D87A-5B72-48DF-8BED-DE1C2DA703D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92257" y="3071056"/>
              <a:ext cx="2391161" cy="1016815"/>
            </a:xfrm>
            <a:prstGeom prst="rect">
              <a:avLst/>
            </a:prstGeom>
          </p:spPr>
        </p:pic>
        <p:pic>
          <p:nvPicPr>
            <p:cNvPr id="41" name="Picture 40" descr="A picture containing object&#10;&#10;Description automatically generated">
              <a:extLst>
                <a:ext uri="{FF2B5EF4-FFF2-40B4-BE49-F238E27FC236}">
                  <a16:creationId xmlns:a16="http://schemas.microsoft.com/office/drawing/2014/main" id="{CEB5158A-D9C4-4988-97F9-3B070226C24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77186" y="3071056"/>
              <a:ext cx="2391161" cy="1016815"/>
            </a:xfrm>
            <a:prstGeom prst="rect">
              <a:avLst/>
            </a:prstGeom>
          </p:spPr>
        </p:pic>
        <p:pic>
          <p:nvPicPr>
            <p:cNvPr id="42" name="Picture 41" descr="A picture containing object&#10;&#10;Description automatically generated">
              <a:extLst>
                <a:ext uri="{FF2B5EF4-FFF2-40B4-BE49-F238E27FC236}">
                  <a16:creationId xmlns:a16="http://schemas.microsoft.com/office/drawing/2014/main" id="{1B44D2FF-BBB8-4813-9C22-4B18AC968D7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592257" y="1704239"/>
              <a:ext cx="2391161" cy="1016815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DEC1C75-B346-404A-A87F-07C8C146168E}"/>
                </a:ext>
              </a:extLst>
            </p:cNvPr>
            <p:cNvSpPr txBox="1"/>
            <p:nvPr/>
          </p:nvSpPr>
          <p:spPr>
            <a:xfrm>
              <a:off x="4700629" y="1497340"/>
              <a:ext cx="1335943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33" b="1" dirty="0">
                  <a:latin typeface="Arial" panose="020B0604020202020204" pitchFamily="34" charset="0"/>
                  <a:cs typeface="Arial" panose="020B0604020202020204" pitchFamily="34" charset="0"/>
                </a:rPr>
                <a:t>HR, 0.61 (95% CI: 0.47, 0.81)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6BD4353-A285-4A00-A724-76BB0BC99F87}"/>
                </a:ext>
              </a:extLst>
            </p:cNvPr>
            <p:cNvSpPr txBox="1"/>
            <p:nvPr/>
          </p:nvSpPr>
          <p:spPr>
            <a:xfrm>
              <a:off x="6886667" y="2864001"/>
              <a:ext cx="1335943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33" b="1" dirty="0">
                  <a:latin typeface="Arial" panose="020B0604020202020204" pitchFamily="34" charset="0"/>
                  <a:cs typeface="Arial" panose="020B0604020202020204" pitchFamily="34" charset="0"/>
                </a:rPr>
                <a:t>HR, 0.55 (95% CI: 0.32, 0.93)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8E8EE3D-6DB8-49B9-AACD-6D1318CDEA41}"/>
                </a:ext>
              </a:extLst>
            </p:cNvPr>
            <p:cNvSpPr txBox="1"/>
            <p:nvPr/>
          </p:nvSpPr>
          <p:spPr>
            <a:xfrm>
              <a:off x="6886667" y="1497340"/>
              <a:ext cx="1335943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33" b="1" dirty="0">
                  <a:latin typeface="Arial" panose="020B0604020202020204" pitchFamily="34" charset="0"/>
                  <a:cs typeface="Arial" panose="020B0604020202020204" pitchFamily="34" charset="0"/>
                </a:rPr>
                <a:t>HR, 0.79 (95% CI: 0.57, 1.09)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E4CC8E6-3075-4B59-BFBD-CB2D53AB6BF9}"/>
                </a:ext>
              </a:extLst>
            </p:cNvPr>
            <p:cNvSpPr txBox="1"/>
            <p:nvPr/>
          </p:nvSpPr>
          <p:spPr>
            <a:xfrm>
              <a:off x="4700630" y="2864001"/>
              <a:ext cx="1335943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/>
              <a:r>
                <a:rPr lang="en-US" sz="933" b="1" dirty="0">
                  <a:latin typeface="Arial" panose="020B0604020202020204" pitchFamily="34" charset="0"/>
                  <a:cs typeface="Arial" panose="020B0604020202020204" pitchFamily="34" charset="0"/>
                </a:rPr>
                <a:t>HR, 0.69 (95% CI: 0.46, 1.03)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1281B4C-8B5F-4E0F-BB60-B094134B8C46}"/>
                </a:ext>
              </a:extLst>
            </p:cNvPr>
            <p:cNvSpPr txBox="1"/>
            <p:nvPr/>
          </p:nvSpPr>
          <p:spPr>
            <a:xfrm rot="16200000">
              <a:off x="6252411" y="2071941"/>
              <a:ext cx="584536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/>
              <a:r>
                <a:rPr lang="en-US" sz="933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Přežití</a:t>
              </a:r>
              <a:r>
                <a:rPr lang="en-US" sz="933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(%)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DF87AD9-92D4-4862-9AC5-99BF969DE05A}"/>
                </a:ext>
              </a:extLst>
            </p:cNvPr>
            <p:cNvSpPr txBox="1"/>
            <p:nvPr/>
          </p:nvSpPr>
          <p:spPr>
            <a:xfrm rot="16200000">
              <a:off x="3756687" y="2061477"/>
              <a:ext cx="559288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Přežití</a:t>
              </a:r>
              <a:r>
                <a:rPr lang="en-US" sz="933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(%)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D99A339-80A7-4A93-B1E7-7DB863276511}"/>
                </a:ext>
              </a:extLst>
            </p:cNvPr>
            <p:cNvSpPr txBox="1"/>
            <p:nvPr/>
          </p:nvSpPr>
          <p:spPr>
            <a:xfrm rot="16200000">
              <a:off x="3756688" y="3441817"/>
              <a:ext cx="559289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Přežití</a:t>
              </a:r>
              <a:r>
                <a:rPr lang="en-US" sz="933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(%)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903DE4D-5748-457F-8564-2DDF4A554EB2}"/>
                </a:ext>
              </a:extLst>
            </p:cNvPr>
            <p:cNvSpPr txBox="1"/>
            <p:nvPr/>
          </p:nvSpPr>
          <p:spPr>
            <a:xfrm rot="16200000">
              <a:off x="6265034" y="3441817"/>
              <a:ext cx="559288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Přežití</a:t>
              </a:r>
              <a:r>
                <a:rPr lang="en-US" sz="933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(%)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16CE953-7E50-4772-A83A-5D3C8683E98E}"/>
                </a:ext>
              </a:extLst>
            </p:cNvPr>
            <p:cNvSpPr txBox="1"/>
            <p:nvPr/>
          </p:nvSpPr>
          <p:spPr>
            <a:xfrm>
              <a:off x="5139114" y="2669038"/>
              <a:ext cx="428243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Měsíce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A6F0D37-D1AE-4CE4-A5F0-75F896A4B8F0}"/>
                </a:ext>
              </a:extLst>
            </p:cNvPr>
            <p:cNvSpPr txBox="1"/>
            <p:nvPr/>
          </p:nvSpPr>
          <p:spPr>
            <a:xfrm>
              <a:off x="7656749" y="4043147"/>
              <a:ext cx="434254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Měsíce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124CBF6-0598-47D4-B3D0-9BD28D6DAC08}"/>
                </a:ext>
              </a:extLst>
            </p:cNvPr>
            <p:cNvSpPr txBox="1"/>
            <p:nvPr/>
          </p:nvSpPr>
          <p:spPr>
            <a:xfrm>
              <a:off x="5136106" y="4043147"/>
              <a:ext cx="434254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Měsíce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C7D792A-1376-4A12-83D0-F4D2AF1E2380}"/>
                </a:ext>
              </a:extLst>
            </p:cNvPr>
            <p:cNvSpPr txBox="1"/>
            <p:nvPr/>
          </p:nvSpPr>
          <p:spPr>
            <a:xfrm>
              <a:off x="7656749" y="2669038"/>
              <a:ext cx="434254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Měsíce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4F4B8F84-8F97-425F-B743-D3033F9581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0334917"/>
              </p:ext>
            </p:extLst>
          </p:nvPr>
        </p:nvGraphicFramePr>
        <p:xfrm>
          <a:off x="7771009" y="1225614"/>
          <a:ext cx="3568100" cy="2146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43">
            <a:extLst>
              <a:ext uri="{FF2B5EF4-FFF2-40B4-BE49-F238E27FC236}">
                <a16:creationId xmlns:a16="http://schemas.microsoft.com/office/drawing/2014/main" id="{5D0E1204-68D4-461E-B121-49ACB0C03BCF}"/>
              </a:ext>
            </a:extLst>
          </p:cNvPr>
          <p:cNvSpPr txBox="1"/>
          <p:nvPr/>
        </p:nvSpPr>
        <p:spPr>
          <a:xfrm>
            <a:off x="9534105" y="2039049"/>
            <a:ext cx="772968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67" i="1" dirty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1067" dirty="0">
                <a:latin typeface="Arial" panose="020B0604020202020204" pitchFamily="34" charset="0"/>
                <a:cs typeface="Arial" panose="020B0604020202020204" pitchFamily="34" charset="0"/>
              </a:rPr>
              <a:t> = 0.014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0DBF94E-87ED-49CA-AF8F-78232D1FD9FA}"/>
              </a:ext>
            </a:extLst>
          </p:cNvPr>
          <p:cNvSpPr txBox="1"/>
          <p:nvPr/>
        </p:nvSpPr>
        <p:spPr>
          <a:xfrm>
            <a:off x="9617578" y="3072720"/>
            <a:ext cx="997389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US" sz="1333" b="1" dirty="0">
                <a:latin typeface="Arial" panose="020B0604020202020204" pitchFamily="34" charset="0"/>
                <a:cs typeface="Arial" panose="020B0604020202020204" pitchFamily="34" charset="0"/>
              </a:rPr>
              <a:t>PD-L1 IC+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015DB09-2E7D-4CB3-8FBD-77A6D5220CDD}"/>
              </a:ext>
            </a:extLst>
          </p:cNvPr>
          <p:cNvSpPr txBox="1"/>
          <p:nvPr/>
        </p:nvSpPr>
        <p:spPr>
          <a:xfrm>
            <a:off x="7414299" y="843517"/>
            <a:ext cx="46857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D-L1 status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le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defTabSz="609585"/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imární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káně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vs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etastáza</a:t>
            </a:r>
            <a:r>
              <a:rPr lang="en-US" sz="1600" b="1" baseline="30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75179DC-7A1F-4A82-924B-2560D04D6299}"/>
              </a:ext>
            </a:extLst>
          </p:cNvPr>
          <p:cNvSpPr txBox="1"/>
          <p:nvPr/>
        </p:nvSpPr>
        <p:spPr>
          <a:xfrm>
            <a:off x="7315176" y="3618614"/>
            <a:ext cx="47751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D-L1 status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le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atomického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místění</a:t>
            </a:r>
            <a:r>
              <a:rPr lang="en-US" sz="1600" b="1" baseline="30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endParaRPr lang="en-US" sz="1600" b="1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C17744A-F160-4C09-8876-779D0C843DB2}"/>
              </a:ext>
            </a:extLst>
          </p:cNvPr>
          <p:cNvSpPr txBox="1"/>
          <p:nvPr/>
        </p:nvSpPr>
        <p:spPr>
          <a:xfrm>
            <a:off x="9672498" y="5999904"/>
            <a:ext cx="997389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US" sz="1333" b="1" dirty="0">
                <a:latin typeface="Arial" panose="020B0604020202020204" pitchFamily="34" charset="0"/>
                <a:cs typeface="Arial" panose="020B0604020202020204" pitchFamily="34" charset="0"/>
              </a:rPr>
              <a:t>PD-L1 IC+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6F73DFB-C797-4333-9852-7AC8E96CAB1D}"/>
              </a:ext>
            </a:extLst>
          </p:cNvPr>
          <p:cNvSpPr/>
          <p:nvPr/>
        </p:nvSpPr>
        <p:spPr>
          <a:xfrm>
            <a:off x="920114" y="5828169"/>
            <a:ext cx="8055140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</a:pPr>
            <a:r>
              <a:rPr lang="en-US" sz="1867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edián</a:t>
            </a:r>
            <a:r>
              <a:rPr lang="en-US" sz="1867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67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oby</a:t>
            </a:r>
            <a:r>
              <a:rPr lang="en-US" sz="1867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67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dběru</a:t>
            </a:r>
            <a:r>
              <a:rPr lang="en-US" sz="1867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67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zorku</a:t>
            </a:r>
            <a:r>
              <a:rPr lang="en-US" sz="1867" dirty="0" smtClean="0"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en-US" sz="1867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ndomizace</a:t>
            </a:r>
            <a:r>
              <a:rPr lang="en-US" sz="1867" dirty="0" smtClean="0">
                <a:latin typeface="Arial" panose="020B0604020202020204" pitchFamily="34" charset="0"/>
                <a:cs typeface="Arial" panose="020B0604020202020204" pitchFamily="34" charset="0"/>
              </a:rPr>
              <a:t>: 61 </a:t>
            </a:r>
            <a:r>
              <a:rPr lang="en-US" sz="1867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ní</a:t>
            </a:r>
            <a:endParaRPr lang="en-US" sz="18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bdélník 49"/>
          <p:cNvSpPr/>
          <p:nvPr/>
        </p:nvSpPr>
        <p:spPr>
          <a:xfrm>
            <a:off x="0" y="6624977"/>
            <a:ext cx="440777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en-US" sz="800" dirty="0" err="1" smtClean="0">
                <a:solidFill>
                  <a:srgbClr val="000000"/>
                </a:solidFill>
              </a:rPr>
              <a:t>Rugo</a:t>
            </a:r>
            <a:r>
              <a:rPr lang="en-US" sz="800" dirty="0" smtClean="0">
                <a:solidFill>
                  <a:srgbClr val="000000"/>
                </a:solidFill>
              </a:rPr>
              <a:t> et al. Abstract 6571 IMpassion130 PD-L1 IHC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7735339" y="1766827"/>
            <a:ext cx="157731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imární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káň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(62%)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ovéPole 51"/>
          <p:cNvSpPr txBox="1"/>
          <p:nvPr/>
        </p:nvSpPr>
        <p:spPr>
          <a:xfrm>
            <a:off x="7480540" y="2429351"/>
            <a:ext cx="1832117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etastatická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káň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(38%)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4" name="Obrázek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55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81224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5" grpId="0">
        <p:bldAsOne/>
      </p:bldGraphic>
      <p:bldP spid="48" grpId="0"/>
      <p:bldP spid="4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able 44">
            <a:extLst>
              <a:ext uri="{FF2B5EF4-FFF2-40B4-BE49-F238E27FC236}">
                <a16:creationId xmlns:a16="http://schemas.microsoft.com/office/drawing/2014/main" id="{DF15BDEB-7D41-4D51-8A3C-90A9CBCA13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4459211"/>
              </p:ext>
            </p:extLst>
          </p:nvPr>
        </p:nvGraphicFramePr>
        <p:xfrm>
          <a:off x="7899520" y="912971"/>
          <a:ext cx="4046258" cy="5090397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034381">
                  <a:extLst>
                    <a:ext uri="{9D8B030D-6E8A-4147-A177-3AD203B41FA5}">
                      <a16:colId xmlns:a16="http://schemas.microsoft.com/office/drawing/2014/main" val="2445827542"/>
                    </a:ext>
                  </a:extLst>
                </a:gridCol>
                <a:gridCol w="2011877">
                  <a:extLst>
                    <a:ext uri="{9D8B030D-6E8A-4147-A177-3AD203B41FA5}">
                      <a16:colId xmlns:a16="http://schemas.microsoft.com/office/drawing/2014/main" val="925438133"/>
                    </a:ext>
                  </a:extLst>
                </a:gridCol>
              </a:tblGrid>
              <a:tr h="686592">
                <a:tc gridSpan="2">
                  <a:txBody>
                    <a:bodyPr/>
                    <a:lstStyle/>
                    <a:p>
                      <a:pPr algn="ctr"/>
                      <a:r>
                        <a:rPr lang="en-US" sz="1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 (IC 1%) </a:t>
                      </a:r>
                    </a:p>
                    <a:p>
                      <a:pPr algn="ctr"/>
                      <a:r>
                        <a:rPr lang="en-US" sz="1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SP263 (IC 1%) </a:t>
                      </a:r>
                      <a:endParaRPr lang="en-US" sz="1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solidFill>
                      <a:srgbClr val="F5B4A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8580781"/>
                  </a:ext>
                </a:extLst>
              </a:tr>
              <a:tr h="3154917">
                <a:tc gridSpan="2">
                  <a:txBody>
                    <a:bodyPr/>
                    <a:lstStyle/>
                    <a:p>
                      <a:pPr algn="ctr"/>
                      <a:endParaRPr lang="en-US" sz="1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07429276"/>
                  </a:ext>
                </a:extLst>
              </a:tr>
              <a:tr h="4030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A</a:t>
                      </a:r>
                      <a:r>
                        <a:rPr lang="en-US" sz="1900" b="1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121920" marR="121920" marT="60960" marB="60960" anchor="ctr">
                    <a:solidFill>
                      <a:srgbClr val="F5B4A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%</a:t>
                      </a:r>
                    </a:p>
                  </a:txBody>
                  <a:tcPr marL="121920" marR="121920" marT="60960" marB="60960" anchor="ctr">
                    <a:solidFill>
                      <a:srgbClr val="F5B4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58750"/>
                  </a:ext>
                </a:extLst>
              </a:tr>
              <a:tr h="403000"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A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%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683372764"/>
                  </a:ext>
                </a:extLst>
              </a:tr>
              <a:tr h="403000"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A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%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24064317"/>
                  </a:ext>
                </a:extLst>
              </a:tr>
            </a:tbl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534037C5-13C6-4B29-A07C-1AF30B4690B4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8470014" y="1984211"/>
            <a:ext cx="2647372" cy="2550667"/>
            <a:chOff x="7988061" y="2715400"/>
            <a:chExt cx="1946597" cy="1875490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24728D0F-766A-41BE-BE07-DE994299EF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59165" y="2715400"/>
              <a:ext cx="1875493" cy="1875490"/>
            </a:xfrm>
            <a:prstGeom prst="ellipse">
              <a:avLst/>
            </a:prstGeom>
            <a:solidFill>
              <a:srgbClr val="F5B4A8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1015935">
                <a:buClr>
                  <a:srgbClr val="000000"/>
                </a:buClr>
              </a:pPr>
              <a:endParaRPr lang="en-US" sz="2000" kern="0" dirty="0">
                <a:solidFill>
                  <a:srgbClr val="FFFFFF"/>
                </a:solidFill>
                <a:latin typeface="Arial"/>
                <a:sym typeface="Arial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C372986-8E56-4266-B8DF-314EA2A70E0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88061" y="2927261"/>
              <a:ext cx="1470575" cy="1477370"/>
            </a:xfrm>
            <a:prstGeom prst="ellipse">
              <a:avLst/>
            </a:prstGeom>
            <a:solidFill>
              <a:schemeClr val="tx1">
                <a:alpha val="5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1015935">
                <a:buClr>
                  <a:srgbClr val="000000"/>
                </a:buClr>
              </a:pPr>
              <a:endParaRPr lang="en-US" sz="2000" kern="0" dirty="0">
                <a:solidFill>
                  <a:srgbClr val="FFFFFF"/>
                </a:solidFill>
                <a:latin typeface="Arial"/>
                <a:sym typeface="Arial"/>
              </a:endParaRPr>
            </a:p>
          </p:txBody>
        </p:sp>
      </p:grpSp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A498002C-99A7-43E9-827E-96EEFAF19A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547969"/>
              </p:ext>
            </p:extLst>
          </p:nvPr>
        </p:nvGraphicFramePr>
        <p:xfrm>
          <a:off x="3843650" y="912970"/>
          <a:ext cx="3760241" cy="5126882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890578">
                  <a:extLst>
                    <a:ext uri="{9D8B030D-6E8A-4147-A177-3AD203B41FA5}">
                      <a16:colId xmlns:a16="http://schemas.microsoft.com/office/drawing/2014/main" val="2445827542"/>
                    </a:ext>
                  </a:extLst>
                </a:gridCol>
                <a:gridCol w="1869663">
                  <a:extLst>
                    <a:ext uri="{9D8B030D-6E8A-4147-A177-3AD203B41FA5}">
                      <a16:colId xmlns:a16="http://schemas.microsoft.com/office/drawing/2014/main" val="925438133"/>
                    </a:ext>
                  </a:extLst>
                </a:gridCol>
              </a:tblGrid>
              <a:tr h="655377"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 (IC 1%) </a:t>
                      </a:r>
                      <a:br>
                        <a:rPr lang="en-US" sz="1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22C3 (CPS 1)</a:t>
                      </a:r>
                      <a:endParaRPr lang="en-US" sz="1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solidFill>
                      <a:srgbClr val="B7D6A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562396"/>
                  </a:ext>
                </a:extLst>
              </a:tr>
              <a:tr h="3191402">
                <a:tc gridSpan="2">
                  <a:txBody>
                    <a:bodyPr/>
                    <a:lstStyle/>
                    <a:p>
                      <a:pPr algn="ctr"/>
                      <a:endParaRPr lang="en-US" sz="1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109272"/>
                  </a:ext>
                </a:extLst>
              </a:tr>
              <a:tr h="384678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A</a:t>
                      </a:r>
                      <a:r>
                        <a:rPr lang="en-US" sz="1900" b="1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6A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%</a:t>
                      </a:r>
                    </a:p>
                  </a:txBody>
                  <a:tcPr marL="121920" marR="121920" marT="60960" marB="6096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6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58750"/>
                  </a:ext>
                </a:extLst>
              </a:tr>
              <a:tr h="384678">
                <a:tc>
                  <a:txBody>
                    <a:bodyPr/>
                    <a:lstStyle/>
                    <a:p>
                      <a:pPr algn="ctr"/>
                      <a:r>
                        <a:rPr lang="en-US" sz="1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A</a:t>
                      </a:r>
                    </a:p>
                  </a:txBody>
                  <a:tcPr marL="121920" marR="121920" marT="60960" marB="6096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%</a:t>
                      </a:r>
                    </a:p>
                  </a:txBody>
                  <a:tcPr marL="121920" marR="121920" marT="60960" marB="6096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683372764"/>
                  </a:ext>
                </a:extLst>
              </a:tr>
              <a:tr h="384678">
                <a:tc>
                  <a:txBody>
                    <a:bodyPr/>
                    <a:lstStyle/>
                    <a:p>
                      <a:pPr algn="ctr"/>
                      <a:r>
                        <a:rPr lang="en-US" sz="1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A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%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24064317"/>
                  </a:ext>
                </a:extLst>
              </a:tr>
            </a:tbl>
          </a:graphicData>
        </a:graphic>
      </p:graphicFrame>
      <p:grpSp>
        <p:nvGrpSpPr>
          <p:cNvPr id="50" name="Group 49">
            <a:extLst>
              <a:ext uri="{FF2B5EF4-FFF2-40B4-BE49-F238E27FC236}">
                <a16:creationId xmlns:a16="http://schemas.microsoft.com/office/drawing/2014/main" id="{A8E4846C-4F45-4F05-9A75-EA99121A26EF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261139" y="1918831"/>
            <a:ext cx="2827309" cy="2724987"/>
            <a:chOff x="4130212" y="6460735"/>
            <a:chExt cx="2969539" cy="2862072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E0891B7A-AC32-4AC2-8D80-41C1F8D64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37679" y="6460735"/>
              <a:ext cx="2862072" cy="2862072"/>
            </a:xfrm>
            <a:prstGeom prst="ellipse">
              <a:avLst/>
            </a:prstGeom>
            <a:solidFill>
              <a:srgbClr val="70AD46">
                <a:alpha val="50000"/>
              </a:srgb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1015935">
                <a:buClr>
                  <a:srgbClr val="000000"/>
                </a:buClr>
              </a:pPr>
              <a:endParaRPr lang="en-US" sz="2000" kern="0" dirty="0">
                <a:solidFill>
                  <a:srgbClr val="FFFFFF"/>
                </a:solidFill>
                <a:latin typeface="Arial"/>
                <a:sym typeface="Arial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92A110F-AC68-4871-B368-3EECB6042F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30212" y="6822040"/>
              <a:ext cx="2157985" cy="2157984"/>
            </a:xfrm>
            <a:prstGeom prst="ellipse">
              <a:avLst/>
            </a:prstGeom>
            <a:solidFill>
              <a:schemeClr val="tx1">
                <a:alpha val="5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1015935">
                <a:buClr>
                  <a:srgbClr val="000000"/>
                </a:buClr>
              </a:pPr>
              <a:endParaRPr lang="en-US" sz="2000" kern="0" dirty="0">
                <a:solidFill>
                  <a:srgbClr val="FFFFFF"/>
                </a:solidFill>
                <a:latin typeface="Arial"/>
                <a:sym typeface="Arial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C8AE82A-5E1E-4496-B636-5BAE037E4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98" y="242907"/>
            <a:ext cx="9817100" cy="521050"/>
          </a:xfrm>
        </p:spPr>
        <p:txBody>
          <a:bodyPr anchor="ctr">
            <a:noAutofit/>
          </a:bodyPr>
          <a:lstStyle/>
          <a:p>
            <a:r>
              <a:rPr lang="en-US" sz="2600" dirty="0">
                <a:latin typeface="+mj-lt"/>
              </a:rPr>
              <a:t>PD-L1 IHC testy: prevalence a </a:t>
            </a:r>
            <a:r>
              <a:rPr lang="en-US" sz="2600" dirty="0" err="1">
                <a:latin typeface="+mj-lt"/>
              </a:rPr>
              <a:t>analytická</a:t>
            </a:r>
            <a:r>
              <a:rPr lang="en-US" sz="2600" dirty="0">
                <a:latin typeface="+mj-lt"/>
              </a:rPr>
              <a:t> </a:t>
            </a:r>
            <a:r>
              <a:rPr lang="en-US" sz="2600" dirty="0" err="1">
                <a:latin typeface="+mj-lt"/>
              </a:rPr>
              <a:t>konkordance</a:t>
            </a:r>
            <a:r>
              <a:rPr lang="cs-CZ" sz="2800" baseline="30000" dirty="0">
                <a:solidFill>
                  <a:srgbClr val="830065"/>
                </a:solidFill>
              </a:rPr>
              <a:t>1</a:t>
            </a:r>
            <a:endParaRPr lang="en-US" sz="2600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01303107-3751-4C71-8C5A-3640AFB818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9753" y="6164008"/>
            <a:ext cx="9520865" cy="451404"/>
          </a:xfrm>
        </p:spPr>
        <p:txBody>
          <a:bodyPr>
            <a:noAutofit/>
          </a:bodyPr>
          <a:lstStyle/>
          <a:p>
            <a:r>
              <a:rPr lang="en-US" sz="900" dirty="0"/>
              <a:t>NPA, negative percentage agreement; OPA, overall percentage agreement; PPA, positive percentage agreement.</a:t>
            </a:r>
            <a:br>
              <a:rPr lang="en-US" sz="900" dirty="0"/>
            </a:br>
            <a:r>
              <a:rPr lang="en-US" sz="900" baseline="30000" dirty="0"/>
              <a:t>a</a:t>
            </a:r>
            <a:r>
              <a:rPr lang="en-US" sz="900" dirty="0"/>
              <a:t> &gt; 97% of SP142+ samples included in 22C3+ or SP263+ samples. </a:t>
            </a:r>
            <a:r>
              <a:rPr lang="en-US" sz="900" baseline="30000" dirty="0"/>
              <a:t>b </a:t>
            </a:r>
            <a:r>
              <a:rPr lang="en-US" sz="900" dirty="0"/>
              <a:t>Compared with 41% in ITT (Schmid, </a:t>
            </a:r>
            <a:r>
              <a:rPr lang="en-US" sz="900" i="1" dirty="0"/>
              <a:t>New Engl J Med</a:t>
            </a:r>
            <a:r>
              <a:rPr lang="en-US" sz="900" dirty="0"/>
              <a:t> 2018).</a:t>
            </a:r>
            <a:br>
              <a:rPr lang="en-US" sz="900" dirty="0"/>
            </a:br>
            <a:r>
              <a:rPr lang="en-US" sz="900" baseline="30000" dirty="0"/>
              <a:t>c</a:t>
            </a:r>
            <a:r>
              <a:rPr lang="en-US" sz="900" dirty="0"/>
              <a:t> ≥ 90% OPA, PPA </a:t>
            </a:r>
            <a:r>
              <a:rPr lang="en-US" sz="900" b="1" i="1" dirty="0"/>
              <a:t>and</a:t>
            </a:r>
            <a:r>
              <a:rPr lang="en-US" sz="900" dirty="0"/>
              <a:t> NPA required for analytical concordance.</a:t>
            </a:r>
          </a:p>
        </p:txBody>
      </p:sp>
      <p:sp>
        <p:nvSpPr>
          <p:cNvPr id="24" name="TextBox 30">
            <a:extLst>
              <a:ext uri="{FF2B5EF4-FFF2-40B4-BE49-F238E27FC236}">
                <a16:creationId xmlns:a16="http://schemas.microsoft.com/office/drawing/2014/main" id="{2F7AAAEA-95E6-3E46-AC21-5DA15E05EC5A}"/>
              </a:ext>
            </a:extLst>
          </p:cNvPr>
          <p:cNvSpPr txBox="1"/>
          <p:nvPr/>
        </p:nvSpPr>
        <p:spPr>
          <a:xfrm>
            <a:off x="6582622" y="4023841"/>
            <a:ext cx="1021269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P142-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2C3-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(18%)</a:t>
            </a:r>
          </a:p>
        </p:txBody>
      </p:sp>
      <p:sp>
        <p:nvSpPr>
          <p:cNvPr id="25" name="TextBox 35">
            <a:extLst>
              <a:ext uri="{FF2B5EF4-FFF2-40B4-BE49-F238E27FC236}">
                <a16:creationId xmlns:a16="http://schemas.microsoft.com/office/drawing/2014/main" id="{C8421BA1-6C2D-C145-A17D-32C91C0926DC}"/>
              </a:ext>
            </a:extLst>
          </p:cNvPr>
          <p:cNvSpPr txBox="1"/>
          <p:nvPr/>
        </p:nvSpPr>
        <p:spPr>
          <a:xfrm>
            <a:off x="5163545" y="2567960"/>
            <a:ext cx="1022496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142+</a:t>
            </a:r>
          </a:p>
          <a:p>
            <a:pPr algn="ctr"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C3+</a:t>
            </a:r>
          </a:p>
          <a:p>
            <a:pPr algn="ctr"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5%)</a:t>
            </a:r>
            <a:r>
              <a:rPr lang="en-US" sz="1400" baseline="30000" dirty="0" smtClean="0">
                <a:solidFill>
                  <a:schemeClr val="bg1"/>
                </a:solidFill>
              </a:rPr>
              <a:t>a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36">
            <a:extLst>
              <a:ext uri="{FF2B5EF4-FFF2-40B4-BE49-F238E27FC236}">
                <a16:creationId xmlns:a16="http://schemas.microsoft.com/office/drawing/2014/main" id="{8EEFA4E4-B9AB-4A41-ABE8-02D59938AF12}"/>
              </a:ext>
            </a:extLst>
          </p:cNvPr>
          <p:cNvSpPr txBox="1"/>
          <p:nvPr/>
        </p:nvSpPr>
        <p:spPr>
          <a:xfrm>
            <a:off x="5168176" y="3961419"/>
            <a:ext cx="102249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P142-</a:t>
            </a:r>
          </a:p>
          <a:p>
            <a:pPr algn="ctr">
              <a:spcBef>
                <a:spcPts val="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22C3+</a:t>
            </a:r>
          </a:p>
          <a:p>
            <a:pPr algn="ctr">
              <a:spcBef>
                <a:spcPts val="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(36%)</a:t>
            </a:r>
          </a:p>
        </p:txBody>
      </p:sp>
      <p:sp>
        <p:nvSpPr>
          <p:cNvPr id="31" name="TextBox 52">
            <a:extLst>
              <a:ext uri="{FF2B5EF4-FFF2-40B4-BE49-F238E27FC236}">
                <a16:creationId xmlns:a16="http://schemas.microsoft.com/office/drawing/2014/main" id="{2D5D34B2-EFD3-F942-B992-E6DE6E636737}"/>
              </a:ext>
            </a:extLst>
          </p:cNvPr>
          <p:cNvSpPr txBox="1"/>
          <p:nvPr/>
        </p:nvSpPr>
        <p:spPr>
          <a:xfrm>
            <a:off x="3859158" y="1680878"/>
            <a:ext cx="758616" cy="73866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P142+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2C3-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(1%)</a:t>
            </a:r>
          </a:p>
        </p:txBody>
      </p:sp>
      <p:sp>
        <p:nvSpPr>
          <p:cNvPr id="14" name="TextBox 46">
            <a:extLst>
              <a:ext uri="{FF2B5EF4-FFF2-40B4-BE49-F238E27FC236}">
                <a16:creationId xmlns:a16="http://schemas.microsoft.com/office/drawing/2014/main" id="{F6CD727B-E2F9-2648-B2D3-6EDFECF1C453}"/>
              </a:ext>
            </a:extLst>
          </p:cNvPr>
          <p:cNvSpPr txBox="1">
            <a:spLocks/>
          </p:cNvSpPr>
          <p:nvPr/>
        </p:nvSpPr>
        <p:spPr>
          <a:xfrm>
            <a:off x="9285148" y="3937064"/>
            <a:ext cx="1017103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P142-</a:t>
            </a:r>
          </a:p>
          <a:p>
            <a:pPr algn="ctr">
              <a:spcBef>
                <a:spcPts val="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P263+</a:t>
            </a:r>
          </a:p>
          <a:p>
            <a:pPr algn="ctr">
              <a:spcBef>
                <a:spcPts val="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(30%)</a:t>
            </a:r>
          </a:p>
        </p:txBody>
      </p:sp>
      <p:sp>
        <p:nvSpPr>
          <p:cNvPr id="15" name="TextBox 47">
            <a:extLst>
              <a:ext uri="{FF2B5EF4-FFF2-40B4-BE49-F238E27FC236}">
                <a16:creationId xmlns:a16="http://schemas.microsoft.com/office/drawing/2014/main" id="{0C49EFF2-7856-4F49-84A7-341B6F5CB625}"/>
              </a:ext>
            </a:extLst>
          </p:cNvPr>
          <p:cNvSpPr txBox="1">
            <a:spLocks/>
          </p:cNvSpPr>
          <p:nvPr/>
        </p:nvSpPr>
        <p:spPr>
          <a:xfrm>
            <a:off x="10780903" y="4083497"/>
            <a:ext cx="1015881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P142-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P263-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(24%)</a:t>
            </a:r>
          </a:p>
        </p:txBody>
      </p:sp>
      <p:sp>
        <p:nvSpPr>
          <p:cNvPr id="16" name="TextBox 48">
            <a:extLst>
              <a:ext uri="{FF2B5EF4-FFF2-40B4-BE49-F238E27FC236}">
                <a16:creationId xmlns:a16="http://schemas.microsoft.com/office/drawing/2014/main" id="{24422623-02EA-364A-A89A-02CEEA7B4237}"/>
              </a:ext>
            </a:extLst>
          </p:cNvPr>
          <p:cNvSpPr txBox="1">
            <a:spLocks/>
          </p:cNvSpPr>
          <p:nvPr/>
        </p:nvSpPr>
        <p:spPr>
          <a:xfrm>
            <a:off x="9285148" y="2567960"/>
            <a:ext cx="1017103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142+</a:t>
            </a:r>
          </a:p>
          <a:p>
            <a:pPr algn="ctr"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263+</a:t>
            </a:r>
          </a:p>
          <a:p>
            <a:pPr algn="ctr"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5%)</a:t>
            </a:r>
            <a:r>
              <a:rPr lang="en-US" sz="1400" baseline="30000" dirty="0" smtClean="0">
                <a:solidFill>
                  <a:schemeClr val="bg1"/>
                </a:solidFill>
              </a:rPr>
              <a:t> a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B4E952B6-058F-4170-AAFC-A77C95985EFF}"/>
              </a:ext>
            </a:extLst>
          </p:cNvPr>
          <p:cNvCxnSpPr>
            <a:cxnSpLocks/>
          </p:cNvCxnSpPr>
          <p:nvPr/>
        </p:nvCxnSpPr>
        <p:spPr>
          <a:xfrm flipV="1">
            <a:off x="4617774" y="1909728"/>
            <a:ext cx="1048200" cy="126905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64991709-E8B9-4AE9-86BA-5AEF857B9574}"/>
              </a:ext>
            </a:extLst>
          </p:cNvPr>
          <p:cNvSpPr txBox="1"/>
          <p:nvPr/>
        </p:nvSpPr>
        <p:spPr>
          <a:xfrm rot="16200000">
            <a:off x="-33846" y="3410758"/>
            <a:ext cx="8851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D-L1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AB191A3-E31E-49A3-8A0C-911C165B234D}"/>
              </a:ext>
            </a:extLst>
          </p:cNvPr>
          <p:cNvSpPr txBox="1"/>
          <p:nvPr/>
        </p:nvSpPr>
        <p:spPr>
          <a:xfrm>
            <a:off x="1018887" y="912970"/>
            <a:ext cx="2266101" cy="810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867" b="1" dirty="0">
                <a:latin typeface="Arial" panose="020B0604020202020204" pitchFamily="34" charset="0"/>
                <a:cs typeface="Arial" panose="020B0604020202020204" pitchFamily="34" charset="0"/>
              </a:rPr>
              <a:t>PD-L1+</a:t>
            </a:r>
          </a:p>
          <a:p>
            <a:pPr algn="ctr" defTabSz="609585"/>
            <a:r>
              <a:rPr lang="en-US" sz="1867" b="1" dirty="0">
                <a:latin typeface="Arial" panose="020B0604020202020204" pitchFamily="34" charset="0"/>
                <a:cs typeface="Arial" panose="020B0604020202020204" pitchFamily="34" charset="0"/>
              </a:rPr>
              <a:t>prevalence</a:t>
            </a:r>
          </a:p>
        </p:txBody>
      </p:sp>
      <p:sp>
        <p:nvSpPr>
          <p:cNvPr id="39" name="TextBox 52">
            <a:extLst>
              <a:ext uri="{FF2B5EF4-FFF2-40B4-BE49-F238E27FC236}">
                <a16:creationId xmlns:a16="http://schemas.microsoft.com/office/drawing/2014/main" id="{4AF72471-B68A-46EB-B7F8-DBCDB1D02253}"/>
              </a:ext>
            </a:extLst>
          </p:cNvPr>
          <p:cNvSpPr txBox="1"/>
          <p:nvPr/>
        </p:nvSpPr>
        <p:spPr>
          <a:xfrm>
            <a:off x="7908322" y="1663227"/>
            <a:ext cx="758616" cy="73866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P142+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P263-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(1%)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12C32BC-4E72-4B2E-9FA6-9E3684C7CAEB}"/>
              </a:ext>
            </a:extLst>
          </p:cNvPr>
          <p:cNvCxnSpPr>
            <a:cxnSpLocks/>
          </p:cNvCxnSpPr>
          <p:nvPr/>
        </p:nvCxnSpPr>
        <p:spPr>
          <a:xfrm flipV="1">
            <a:off x="8666938" y="1970688"/>
            <a:ext cx="1109353" cy="48359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AC4E63D9-156A-4E40-93C0-C983F5FA4B8F}"/>
              </a:ext>
            </a:extLst>
          </p:cNvPr>
          <p:cNvGrpSpPr/>
          <p:nvPr/>
        </p:nvGrpSpPr>
        <p:grpSpPr>
          <a:xfrm>
            <a:off x="578021" y="1104150"/>
            <a:ext cx="2450188" cy="5004023"/>
            <a:chOff x="292872" y="925984"/>
            <a:chExt cx="1521182" cy="3753017"/>
          </a:xfrm>
        </p:grpSpPr>
        <p:graphicFrame>
          <p:nvGraphicFramePr>
            <p:cNvPr id="36" name="Chart 35">
              <a:extLst>
                <a:ext uri="{FF2B5EF4-FFF2-40B4-BE49-F238E27FC236}">
                  <a16:creationId xmlns:a16="http://schemas.microsoft.com/office/drawing/2014/main" id="{95AC2408-6212-4C8E-BA34-A46A2967B913}"/>
                </a:ext>
              </a:extLst>
            </p:cNvPr>
            <p:cNvGraphicFramePr/>
            <p:nvPr>
              <p:extLst/>
            </p:nvPr>
          </p:nvGraphicFramePr>
          <p:xfrm>
            <a:off x="292872" y="925984"/>
            <a:ext cx="1521182" cy="37530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F566C87-153D-4D01-A7D1-F6B685D4A2B9}"/>
                </a:ext>
              </a:extLst>
            </p:cNvPr>
            <p:cNvSpPr txBox="1"/>
            <p:nvPr/>
          </p:nvSpPr>
          <p:spPr>
            <a:xfrm>
              <a:off x="1078173" y="2474771"/>
              <a:ext cx="150476" cy="1615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800" dirty="0">
                  <a:latin typeface="Arial" panose="020B0604020202020204" pitchFamily="34" charset="0"/>
                  <a:cs typeface="Arial" panose="020B0604020202020204" pitchFamily="34" charset="0"/>
                </a:rPr>
                <a:t>b</a:t>
              </a:r>
            </a:p>
          </p:txBody>
        </p:sp>
      </p:grpSp>
      <p:sp>
        <p:nvSpPr>
          <p:cNvPr id="29" name="Obdélník 28"/>
          <p:cNvSpPr/>
          <p:nvPr/>
        </p:nvSpPr>
        <p:spPr>
          <a:xfrm>
            <a:off x="0" y="6624977"/>
            <a:ext cx="440777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en-US" sz="800" dirty="0" err="1" smtClean="0">
                <a:solidFill>
                  <a:srgbClr val="000000"/>
                </a:solidFill>
              </a:rPr>
              <a:t>Rugo</a:t>
            </a:r>
            <a:r>
              <a:rPr lang="en-US" sz="800" dirty="0" smtClean="0">
                <a:solidFill>
                  <a:srgbClr val="000000"/>
                </a:solidFill>
              </a:rPr>
              <a:t> et al. Abstract 6571 IMpassion130 PD-L1 IHC</a:t>
            </a: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30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2309" y="107388"/>
            <a:ext cx="1304248" cy="792088"/>
          </a:xfrm>
          <a:prstGeom prst="rect">
            <a:avLst/>
          </a:prstGeom>
        </p:spPr>
      </p:pic>
      <p:sp>
        <p:nvSpPr>
          <p:cNvPr id="32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76692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31" grpId="0"/>
      <p:bldP spid="14" grpId="0"/>
      <p:bldP spid="15" grpId="0"/>
      <p:bldP spid="16" grpId="0"/>
      <p:bldP spid="3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54712AC-1FCA-44F5-806A-1A6060432A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1401089"/>
              </p:ext>
            </p:extLst>
          </p:nvPr>
        </p:nvGraphicFramePr>
        <p:xfrm>
          <a:off x="863689" y="1213298"/>
          <a:ext cx="11328311" cy="5192399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066891">
                  <a:extLst>
                    <a:ext uri="{9D8B030D-6E8A-4147-A177-3AD203B41FA5}">
                      <a16:colId xmlns:a16="http://schemas.microsoft.com/office/drawing/2014/main" val="4291040024"/>
                    </a:ext>
                  </a:extLst>
                </a:gridCol>
                <a:gridCol w="4130710">
                  <a:extLst>
                    <a:ext uri="{9D8B030D-6E8A-4147-A177-3AD203B41FA5}">
                      <a16:colId xmlns:a16="http://schemas.microsoft.com/office/drawing/2014/main" val="911794881"/>
                    </a:ext>
                  </a:extLst>
                </a:gridCol>
                <a:gridCol w="4130710">
                  <a:extLst>
                    <a:ext uri="{9D8B030D-6E8A-4147-A177-3AD203B41FA5}">
                      <a16:colId xmlns:a16="http://schemas.microsoft.com/office/drawing/2014/main" val="3262589560"/>
                    </a:ext>
                  </a:extLst>
                </a:gridCol>
              </a:tblGrid>
              <a:tr h="35316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pulace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90651111"/>
                  </a:ext>
                </a:extLst>
              </a:tr>
              <a:tr h="1883567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</a:t>
                      </a:r>
                      <a:endParaRPr lang="en-US" sz="16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 ≥ 1%: 46%</a:t>
                      </a:r>
                      <a:b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85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5534830"/>
                  </a:ext>
                </a:extLst>
              </a:tr>
              <a:tr h="1471536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C3</a:t>
                      </a:r>
                      <a:endParaRPr lang="en-US" sz="16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PS ≥ 1: 81%</a:t>
                      </a:r>
                      <a:b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97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8890238"/>
                  </a:ext>
                </a:extLst>
              </a:tr>
              <a:tr h="1471536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263</a:t>
                      </a:r>
                      <a:endParaRPr lang="en-US" sz="16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 ≥ 1%: 75%</a:t>
                      </a:r>
                      <a:b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60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6273198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A3BE047-4E9F-4BCC-B5E4-CD0E3DAC7F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6520" y="2428266"/>
            <a:ext cx="3107504" cy="1086553"/>
          </a:xfrm>
          <a:prstGeom prst="rect">
            <a:avLst/>
          </a:prstGeom>
        </p:spPr>
      </p:pic>
      <p:pic>
        <p:nvPicPr>
          <p:cNvPr id="10" name="Picture 9" descr="A picture containing indoor&#10;&#10;Description automatically generated">
            <a:extLst>
              <a:ext uri="{FF2B5EF4-FFF2-40B4-BE49-F238E27FC236}">
                <a16:creationId xmlns:a16="http://schemas.microsoft.com/office/drawing/2014/main" id="{7F6C4D75-CC9E-40A4-9E99-6F3B853AA8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4688" y="3917226"/>
            <a:ext cx="3107504" cy="1086553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1B0046F1-9D15-4D7A-8AB3-078254D43A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6520" y="3917226"/>
            <a:ext cx="3107504" cy="1086553"/>
          </a:xfrm>
          <a:prstGeom prst="rect">
            <a:avLst/>
          </a:prstGeom>
        </p:spPr>
      </p:pic>
      <p:pic>
        <p:nvPicPr>
          <p:cNvPr id="14" name="Picture 13" descr="A picture containing indoor&#10;&#10;Description automatically generated">
            <a:extLst>
              <a:ext uri="{FF2B5EF4-FFF2-40B4-BE49-F238E27FC236}">
                <a16:creationId xmlns:a16="http://schemas.microsoft.com/office/drawing/2014/main" id="{283C6C70-F7C2-4DFF-9DF4-ECCBE78F93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24688" y="5434023"/>
            <a:ext cx="3107504" cy="108655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81B3360-59AF-4F34-B9D5-80D9571EB6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76520" y="5434023"/>
            <a:ext cx="3107504" cy="1086553"/>
          </a:xfrm>
          <a:prstGeom prst="rect">
            <a:avLst/>
          </a:prstGeom>
        </p:spPr>
      </p:pic>
      <p:pic>
        <p:nvPicPr>
          <p:cNvPr id="6" name="Picture 5" descr="A picture containing indoor&#10;&#10;Description automatically generated">
            <a:extLst>
              <a:ext uri="{FF2B5EF4-FFF2-40B4-BE49-F238E27FC236}">
                <a16:creationId xmlns:a16="http://schemas.microsoft.com/office/drawing/2014/main" id="{02FA650B-EB25-4456-8EE9-12776919F0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24688" y="2428266"/>
            <a:ext cx="3107504" cy="1086553"/>
          </a:xfrm>
          <a:prstGeom prst="rect">
            <a:avLst/>
          </a:prstGeom>
        </p:spPr>
      </p:pic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96E8A72D-5F25-4D93-9E79-7A017C1299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392569"/>
              </p:ext>
            </p:extLst>
          </p:nvPr>
        </p:nvGraphicFramePr>
        <p:xfrm>
          <a:off x="7987095" y="1707038"/>
          <a:ext cx="3578189" cy="682752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 gridSpan="3">
                  <a:txBody>
                    <a:bodyPr/>
                    <a:lstStyle/>
                    <a:p>
                      <a:pPr algn="ctr"/>
                      <a:r>
                        <a:rPr lang="en-US" sz="13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án</a:t>
                      </a:r>
                      <a:r>
                        <a:rPr lang="en-US" sz="13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S, m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12192" marB="12192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 </a:t>
                      </a:r>
                    </a:p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121920" marR="12192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921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cs-CZ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cs-CZ" sz="1300" b="1" u="none" baseline="0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300" b="1" u="none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∆ </a:t>
                      </a:r>
                      <a:endParaRPr lang="en-US" sz="13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92202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.9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4 (0.54, 1.01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66" name="Table 65">
            <a:extLst>
              <a:ext uri="{FF2B5EF4-FFF2-40B4-BE49-F238E27FC236}">
                <a16:creationId xmlns:a16="http://schemas.microsoft.com/office/drawing/2014/main" id="{17506F1D-FAD2-4212-86EE-07BBD9369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9646536"/>
              </p:ext>
            </p:extLst>
          </p:nvPr>
        </p:nvGraphicFramePr>
        <p:xfrm>
          <a:off x="3738754" y="1711102"/>
          <a:ext cx="3578189" cy="682752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 gridSpan="3"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án</a:t>
                      </a:r>
                      <a:r>
                        <a:rPr lang="en-US" sz="13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FS, m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12192" marB="12192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 </a:t>
                      </a:r>
                    </a:p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121920" marR="12192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921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cs-CZ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cs-CZ" sz="1300" b="1" u="none" baseline="0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300" b="1" u="none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∆ </a:t>
                      </a:r>
                      <a:endParaRPr lang="en-US" sz="13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92202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1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2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0 (0.47, 0.78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041685-CD77-4FA2-BA68-ADAF9681F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678" y="472953"/>
            <a:ext cx="11174606" cy="433493"/>
          </a:xfrm>
        </p:spPr>
        <p:txBody>
          <a:bodyPr anchor="ctr">
            <a:noAutofit/>
          </a:bodyPr>
          <a:lstStyle/>
          <a:p>
            <a:r>
              <a:rPr lang="en-US" sz="2600" dirty="0" err="1">
                <a:latin typeface="+mj-lt"/>
              </a:rPr>
              <a:t>Klinické</a:t>
            </a:r>
            <a:r>
              <a:rPr lang="en-US" sz="2600" dirty="0">
                <a:latin typeface="+mj-lt"/>
              </a:rPr>
              <a:t> </a:t>
            </a:r>
            <a:r>
              <a:rPr lang="en-US" sz="2600" dirty="0" err="1">
                <a:latin typeface="+mj-lt"/>
              </a:rPr>
              <a:t>výsledky</a:t>
            </a:r>
            <a:r>
              <a:rPr lang="en-US" sz="2600" dirty="0">
                <a:latin typeface="+mj-lt"/>
              </a:rPr>
              <a:t> u PD-L1+ populace </a:t>
            </a:r>
            <a:r>
              <a:rPr lang="cs-CZ" sz="2600" dirty="0">
                <a:latin typeface="+mj-lt"/>
              </a:rPr>
              <a:t>dle testů </a:t>
            </a:r>
            <a:r>
              <a:rPr lang="en-US" sz="2600" dirty="0">
                <a:latin typeface="+mj-lt"/>
              </a:rPr>
              <a:t>SP142 (IC 1%), </a:t>
            </a:r>
            <a:r>
              <a:rPr lang="cs-CZ" sz="2600" dirty="0">
                <a:latin typeface="+mj-lt"/>
              </a:rPr>
              <a:t/>
            </a:r>
            <a:br>
              <a:rPr lang="cs-CZ" sz="2600" dirty="0">
                <a:latin typeface="+mj-lt"/>
              </a:rPr>
            </a:br>
            <a:r>
              <a:rPr lang="en-US" sz="2600" dirty="0">
                <a:latin typeface="+mj-lt"/>
              </a:rPr>
              <a:t>22C3 (CPS 1) a SP263 (IC 1%)</a:t>
            </a:r>
            <a:r>
              <a:rPr lang="cs-CZ" sz="2600" dirty="0">
                <a:latin typeface="+mj-lt"/>
              </a:rPr>
              <a:t> </a:t>
            </a:r>
            <a:r>
              <a:rPr lang="cs-CZ" sz="2500" baseline="30000" dirty="0">
                <a:solidFill>
                  <a:srgbClr val="830065"/>
                </a:solidFill>
              </a:rPr>
              <a:t>1</a:t>
            </a:r>
            <a:endParaRPr lang="en-US" sz="2500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199AF02-ED36-4F8A-8EE5-3C721B254E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932" y="6243170"/>
            <a:ext cx="5470916" cy="437402"/>
          </a:xfrm>
        </p:spPr>
        <p:txBody>
          <a:bodyPr>
            <a:noAutofit/>
          </a:bodyPr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HR adjusted for prior taxanes, presence of liver metastases, age and ECOG PS.</a:t>
            </a: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F1C6A2E3-D461-4A85-98EF-CF65192D8D4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738754" y="3654868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5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1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8 (0.56, 0.82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0FAE5798-CAE4-4A12-9733-A76F5B3F8CE7}"/>
              </a:ext>
            </a:extLst>
          </p:cNvPr>
          <p:cNvGrpSpPr/>
          <p:nvPr/>
        </p:nvGrpSpPr>
        <p:grpSpPr>
          <a:xfrm>
            <a:off x="5319450" y="2403000"/>
            <a:ext cx="1942342" cy="451276"/>
            <a:chOff x="5485988" y="4782242"/>
            <a:chExt cx="1456757" cy="338457"/>
          </a:xfrm>
          <a:solidFill>
            <a:schemeClr val="bg1"/>
          </a:solidFill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B033015-DFFF-4F75-B152-A83A4CD72DDB}"/>
                </a:ext>
              </a:extLst>
            </p:cNvPr>
            <p:cNvSpPr txBox="1"/>
            <p:nvPr/>
          </p:nvSpPr>
          <p:spPr>
            <a:xfrm>
              <a:off x="5599588" y="4782242"/>
              <a:ext cx="1343157" cy="33845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933" dirty="0" err="1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ezolizumab</a:t>
              </a:r>
              <a:r>
                <a:rPr lang="en-US" sz="933" dirty="0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933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</a:t>
              </a:r>
              <a:r>
                <a:rPr lang="en-US" sz="933" i="1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b</a:t>
              </a:r>
              <a:r>
                <a:rPr lang="en-US" sz="933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aklitaxel</a:t>
              </a:r>
              <a:endParaRPr lang="en-US" sz="933" dirty="0" smtClean="0">
                <a:solidFill>
                  <a:srgbClr val="3953A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609585"/>
              <a:r>
                <a:rPr lang="en-US" sz="933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bo </a:t>
              </a:r>
              <a:r>
                <a:rPr lang="en-US" sz="933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</a:t>
              </a:r>
              <a:r>
                <a:rPr lang="en-US" sz="933" i="1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b</a:t>
              </a:r>
              <a:r>
                <a:rPr lang="en-US" sz="933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aklitaxel</a:t>
              </a:r>
              <a:endParaRPr lang="en-US" sz="933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CEB9DA3-2B24-4A4F-B63F-62C59E795369}"/>
                </a:ext>
              </a:extLst>
            </p:cNvPr>
            <p:cNvCxnSpPr/>
            <p:nvPr/>
          </p:nvCxnSpPr>
          <p:spPr>
            <a:xfrm>
              <a:off x="5485988" y="4881270"/>
              <a:ext cx="139972" cy="0"/>
            </a:xfrm>
            <a:prstGeom prst="line">
              <a:avLst/>
            </a:prstGeom>
            <a:grpFill/>
            <a:ln>
              <a:solidFill>
                <a:srgbClr val="3953A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4F892CA-3DE2-42DC-88B9-0FAEBEE07632}"/>
                </a:ext>
              </a:extLst>
            </p:cNvPr>
            <p:cNvCxnSpPr/>
            <p:nvPr/>
          </p:nvCxnSpPr>
          <p:spPr>
            <a:xfrm>
              <a:off x="5485988" y="4979186"/>
              <a:ext cx="139972" cy="0"/>
            </a:xfrm>
            <a:prstGeom prst="line">
              <a:avLst/>
            </a:prstGeom>
            <a:grpFill/>
            <a:ln>
              <a:solidFill>
                <a:srgbClr val="ED1C2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67762F82-7067-45CD-8FEF-926F29CA343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738754" y="5176638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5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2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4 (0.53, 0.79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F227A966-5BFD-42F9-A2CD-5B41A4B1E9D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987095" y="3654868"/>
          <a:ext cx="3578189" cy="230021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30021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.6</a:t>
                      </a:r>
                    </a:p>
                  </a:txBody>
                  <a:tcPr marL="0" marR="0" marT="13411" marB="13411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.2</a:t>
                      </a:r>
                    </a:p>
                  </a:txBody>
                  <a:tcPr marL="0" marR="0" marT="13411" marB="13411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4</a:t>
                      </a:r>
                    </a:p>
                  </a:txBody>
                  <a:tcPr marL="0" marR="0" marT="13411" marB="13411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8 (0.62, 0.99)</a:t>
                      </a:r>
                    </a:p>
                  </a:txBody>
                  <a:tcPr marL="0" marR="0" marT="13411" marB="13411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F42688CD-92FD-43EF-9321-02D3B5DCB56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987095" y="5176638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.0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7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5 (0.59, 0.96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DC0022C3-4387-4489-88A3-B2735BCBDA60}"/>
              </a:ext>
            </a:extLst>
          </p:cNvPr>
          <p:cNvSpPr txBox="1"/>
          <p:nvPr/>
        </p:nvSpPr>
        <p:spPr>
          <a:xfrm rot="16200000">
            <a:off x="7761689" y="2741812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FDDA61D-1C09-4338-ACC5-C24D1A91E33B}"/>
              </a:ext>
            </a:extLst>
          </p:cNvPr>
          <p:cNvSpPr txBox="1"/>
          <p:nvPr/>
        </p:nvSpPr>
        <p:spPr>
          <a:xfrm rot="16200000">
            <a:off x="3507967" y="2715790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7A30172-E382-4251-B108-35A8C89A3BA2}"/>
              </a:ext>
            </a:extLst>
          </p:cNvPr>
          <p:cNvSpPr txBox="1"/>
          <p:nvPr/>
        </p:nvSpPr>
        <p:spPr>
          <a:xfrm>
            <a:off x="5266495" y="4922942"/>
            <a:ext cx="57099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B73C2D3-F923-4D79-9C97-04DACC737AA1}"/>
              </a:ext>
            </a:extLst>
          </p:cNvPr>
          <p:cNvSpPr txBox="1"/>
          <p:nvPr/>
        </p:nvSpPr>
        <p:spPr>
          <a:xfrm>
            <a:off x="5266495" y="3426720"/>
            <a:ext cx="57099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8D5F9CF-CE57-49B8-B91F-97EDF60EE507}"/>
              </a:ext>
            </a:extLst>
          </p:cNvPr>
          <p:cNvSpPr txBox="1"/>
          <p:nvPr/>
        </p:nvSpPr>
        <p:spPr>
          <a:xfrm>
            <a:off x="9501504" y="4922942"/>
            <a:ext cx="57099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EE8595-C959-48D2-BBD9-270D0784F171}"/>
              </a:ext>
            </a:extLst>
          </p:cNvPr>
          <p:cNvSpPr txBox="1"/>
          <p:nvPr/>
        </p:nvSpPr>
        <p:spPr>
          <a:xfrm>
            <a:off x="9501504" y="3426720"/>
            <a:ext cx="57099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02AE00F-40FF-4DA2-B960-B369F2706E74}"/>
              </a:ext>
            </a:extLst>
          </p:cNvPr>
          <p:cNvSpPr txBox="1"/>
          <p:nvPr/>
        </p:nvSpPr>
        <p:spPr>
          <a:xfrm rot="16200000">
            <a:off x="7764895" y="4224572"/>
            <a:ext cx="739305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864BD26-5130-495E-814B-B9E0F312AB6F}"/>
              </a:ext>
            </a:extLst>
          </p:cNvPr>
          <p:cNvSpPr txBox="1"/>
          <p:nvPr/>
        </p:nvSpPr>
        <p:spPr>
          <a:xfrm rot="16200000">
            <a:off x="3507967" y="4198550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48ADD8C-052E-42DF-97CA-896CFB65E403}"/>
              </a:ext>
            </a:extLst>
          </p:cNvPr>
          <p:cNvSpPr txBox="1"/>
          <p:nvPr/>
        </p:nvSpPr>
        <p:spPr>
          <a:xfrm rot="16200000">
            <a:off x="7761688" y="5755620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C203BDD-84DA-4E8D-A9BE-B67AB599A276}"/>
              </a:ext>
            </a:extLst>
          </p:cNvPr>
          <p:cNvSpPr txBox="1"/>
          <p:nvPr/>
        </p:nvSpPr>
        <p:spPr>
          <a:xfrm rot="16200000">
            <a:off x="3507967" y="5729598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6D407D1-E46A-48DA-A3C7-C439900DEA96}"/>
              </a:ext>
            </a:extLst>
          </p:cNvPr>
          <p:cNvSpPr txBox="1"/>
          <p:nvPr/>
        </p:nvSpPr>
        <p:spPr>
          <a:xfrm>
            <a:off x="5266495" y="6429838"/>
            <a:ext cx="57099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0606B9A-0BCA-4920-B009-1937B40F2120}"/>
              </a:ext>
            </a:extLst>
          </p:cNvPr>
          <p:cNvSpPr txBox="1"/>
          <p:nvPr/>
        </p:nvSpPr>
        <p:spPr>
          <a:xfrm>
            <a:off x="9501504" y="6429838"/>
            <a:ext cx="57099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Obdélník 36"/>
          <p:cNvSpPr/>
          <p:nvPr/>
        </p:nvSpPr>
        <p:spPr>
          <a:xfrm>
            <a:off x="-22004" y="6660292"/>
            <a:ext cx="440777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en-US" sz="800" dirty="0" err="1" smtClean="0">
                <a:solidFill>
                  <a:srgbClr val="000000"/>
                </a:solidFill>
              </a:rPr>
              <a:t>Rugo</a:t>
            </a:r>
            <a:r>
              <a:rPr lang="en-US" sz="800" dirty="0" smtClean="0">
                <a:solidFill>
                  <a:srgbClr val="000000"/>
                </a:solidFill>
              </a:rPr>
              <a:t> et al. Abstract 6571 IMpassion130 PD-L1 IHC</a:t>
            </a: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36" name="Obrázek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38" name="Obdélník 1"/>
          <p:cNvSpPr/>
          <p:nvPr/>
        </p:nvSpPr>
        <p:spPr>
          <a:xfrm rot="16200000">
            <a:off x="11647693" y="399294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58764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54712AC-1FCA-44F5-806A-1A6060432A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5281402"/>
              </p:ext>
            </p:extLst>
          </p:nvPr>
        </p:nvGraphicFramePr>
        <p:xfrm>
          <a:off x="1962035" y="1169007"/>
          <a:ext cx="9918713" cy="536448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701305">
                  <a:extLst>
                    <a:ext uri="{9D8B030D-6E8A-4147-A177-3AD203B41FA5}">
                      <a16:colId xmlns:a16="http://schemas.microsoft.com/office/drawing/2014/main" val="4291040024"/>
                    </a:ext>
                  </a:extLst>
                </a:gridCol>
                <a:gridCol w="4108704">
                  <a:extLst>
                    <a:ext uri="{9D8B030D-6E8A-4147-A177-3AD203B41FA5}">
                      <a16:colId xmlns:a16="http://schemas.microsoft.com/office/drawing/2014/main" val="911794881"/>
                    </a:ext>
                  </a:extLst>
                </a:gridCol>
                <a:gridCol w="4108704">
                  <a:extLst>
                    <a:ext uri="{9D8B030D-6E8A-4147-A177-3AD203B41FA5}">
                      <a16:colId xmlns:a16="http://schemas.microsoft.com/office/drawing/2014/main" val="326258956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pulace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90651111"/>
                  </a:ext>
                </a:extLst>
              </a:tr>
              <a:tr h="195072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+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C3+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5%; 279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5534830"/>
                  </a:ext>
                </a:extLst>
              </a:tr>
              <a:tr h="152400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-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C3+</a:t>
                      </a:r>
                      <a:b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6%; 218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8890238"/>
                  </a:ext>
                </a:extLst>
              </a:tr>
              <a:tr h="152400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-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C3-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8%, 111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6273198"/>
                  </a:ext>
                </a:extLst>
              </a:tr>
            </a:tbl>
          </a:graphicData>
        </a:graphic>
      </p:graphicFrame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96E8A72D-5F25-4D93-9E79-7A017C1299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0575660"/>
              </p:ext>
            </p:extLst>
          </p:nvPr>
        </p:nvGraphicFramePr>
        <p:xfrm>
          <a:off x="8131533" y="1535277"/>
          <a:ext cx="3578189" cy="682752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 gridSpan="3"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án</a:t>
                      </a:r>
                      <a:r>
                        <a:rPr lang="en-US" sz="13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S, m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12192" marB="12192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 </a:t>
                      </a:r>
                    </a:p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121920" marR="12192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921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cs-CZ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en-US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1" u="none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∆ </a:t>
                      </a:r>
                      <a:endParaRPr lang="en-US" sz="13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92202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0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1 (0.52, 0.98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66" name="Table 65">
            <a:extLst>
              <a:ext uri="{FF2B5EF4-FFF2-40B4-BE49-F238E27FC236}">
                <a16:creationId xmlns:a16="http://schemas.microsoft.com/office/drawing/2014/main" id="{17506F1D-FAD2-4212-86EE-07BBD9369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8703218"/>
              </p:ext>
            </p:extLst>
          </p:nvPr>
        </p:nvGraphicFramePr>
        <p:xfrm>
          <a:off x="3881592" y="1539341"/>
          <a:ext cx="3578189" cy="682752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 gridSpan="3"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án</a:t>
                      </a:r>
                      <a:r>
                        <a:rPr lang="en-US" sz="13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FS, m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12192" marB="12192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 </a:t>
                      </a:r>
                    </a:p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121920" marR="12192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3921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cs-CZ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en-US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1" u="none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∆ </a:t>
                      </a:r>
                      <a:endParaRPr lang="en-US" sz="13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92202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9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0 (0.46, 0.78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041685-CD77-4FA2-BA68-ADAF9681F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407" y="386299"/>
            <a:ext cx="11771418" cy="562874"/>
          </a:xfrm>
        </p:spPr>
        <p:txBody>
          <a:bodyPr anchor="ctr">
            <a:noAutofit/>
          </a:bodyPr>
          <a:lstStyle/>
          <a:p>
            <a:r>
              <a:rPr lang="en-US" sz="2600" dirty="0" err="1">
                <a:latin typeface="+mj-lt"/>
              </a:rPr>
              <a:t>Klinické</a:t>
            </a:r>
            <a:r>
              <a:rPr lang="en-US" sz="2600" dirty="0">
                <a:latin typeface="+mj-lt"/>
              </a:rPr>
              <a:t> </a:t>
            </a:r>
            <a:r>
              <a:rPr lang="en-US" sz="2600" dirty="0" err="1">
                <a:latin typeface="+mj-lt"/>
              </a:rPr>
              <a:t>výsledky</a:t>
            </a:r>
            <a:r>
              <a:rPr lang="en-US" sz="2600" dirty="0">
                <a:latin typeface="+mj-lt"/>
              </a:rPr>
              <a:t> u BEP (biomarker-evaluable population)</a:t>
            </a:r>
            <a:r>
              <a:rPr lang="cs-CZ" sz="2600" dirty="0">
                <a:latin typeface="+mj-lt"/>
              </a:rPr>
              <a:t> </a:t>
            </a:r>
            <a:r>
              <a:rPr lang="cs-CZ" sz="2600" dirty="0" smtClean="0">
                <a:latin typeface="+mj-lt"/>
              </a:rPr>
              <a:t>                 s</a:t>
            </a:r>
            <a:r>
              <a:rPr lang="en-US" sz="2600" dirty="0" err="1" smtClean="0">
                <a:latin typeface="+mj-lt"/>
              </a:rPr>
              <a:t>ubpopulace</a:t>
            </a:r>
            <a:r>
              <a:rPr lang="cs-CZ" sz="2600" dirty="0">
                <a:latin typeface="+mj-lt"/>
              </a:rPr>
              <a:t> </a:t>
            </a:r>
            <a:r>
              <a:rPr lang="en-US" sz="2600" dirty="0" err="1" smtClean="0">
                <a:latin typeface="+mj-lt"/>
              </a:rPr>
              <a:t>dle</a:t>
            </a:r>
            <a:r>
              <a:rPr lang="en-US" sz="2600" dirty="0" smtClean="0">
                <a:latin typeface="+mj-lt"/>
              </a:rPr>
              <a:t> </a:t>
            </a:r>
            <a:r>
              <a:rPr lang="en-US" sz="2600" dirty="0">
                <a:latin typeface="+mj-lt"/>
              </a:rPr>
              <a:t>SP142 (IC 1%) a 22C3 (CPS 1)</a:t>
            </a:r>
            <a:r>
              <a:rPr lang="cs-CZ" sz="2600" dirty="0">
                <a:latin typeface="+mj-lt"/>
              </a:rPr>
              <a:t> </a:t>
            </a:r>
            <a:r>
              <a:rPr lang="cs-CZ" sz="2500" baseline="30000" dirty="0">
                <a:solidFill>
                  <a:srgbClr val="830065"/>
                </a:solidFill>
              </a:rPr>
              <a:t>1</a:t>
            </a:r>
            <a:endParaRPr lang="en-US" sz="2500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199AF02-ED36-4F8A-8EE5-3C721B254E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349" y="6410466"/>
            <a:ext cx="9520865" cy="451404"/>
          </a:xfrm>
        </p:spPr>
        <p:txBody>
          <a:bodyPr>
            <a:noAutofit/>
          </a:bodyPr>
          <a:lstStyle/>
          <a:p>
            <a:r>
              <a:rPr lang="en-US" sz="800" dirty="0"/>
              <a:t>Double positive: SP142 IC ≥ 1%, 22C3 CPS ≥ 1; single positive: SP142 IC &lt; 1%, 22C3 CPS ≥ 1; double negative: SP142 IC &lt; 1%, 22C3 CPS &lt; 1. </a:t>
            </a:r>
            <a:br>
              <a:rPr lang="en-US" sz="800" dirty="0"/>
            </a:br>
            <a:r>
              <a:rPr lang="en-US" sz="800" dirty="0"/>
              <a:t>HR adjusted for prior taxanes, presence of liver metastases, age and ECOG PS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9736501-6A0D-40E6-A213-BEC42B87BD81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144581" y="3213982"/>
            <a:ext cx="1869162" cy="1728266"/>
            <a:chOff x="4130212" y="6460736"/>
            <a:chExt cx="2969542" cy="2862074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35947F1F-07B3-4821-91DA-DD97F014F5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37681" y="6460736"/>
              <a:ext cx="2862073" cy="2862074"/>
            </a:xfrm>
            <a:prstGeom prst="ellipse">
              <a:avLst/>
            </a:prstGeom>
            <a:solidFill>
              <a:srgbClr val="70AD46">
                <a:alpha val="50000"/>
              </a:srgb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8734AE2E-C101-41A3-931C-23772492F6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30212" y="6822040"/>
              <a:ext cx="2157984" cy="2157985"/>
            </a:xfrm>
            <a:prstGeom prst="ellipse">
              <a:avLst/>
            </a:prstGeom>
            <a:solidFill>
              <a:schemeClr val="tx1">
                <a:alpha val="50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F1C6A2E3-D461-4A85-98EF-CF65192D8D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7103944"/>
              </p:ext>
            </p:extLst>
          </p:nvPr>
        </p:nvGraphicFramePr>
        <p:xfrm>
          <a:off x="3881592" y="3483107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6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7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1 (0.61, 1.09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70" name="Table 69">
            <a:extLst>
              <a:ext uri="{FF2B5EF4-FFF2-40B4-BE49-F238E27FC236}">
                <a16:creationId xmlns:a16="http://schemas.microsoft.com/office/drawing/2014/main" id="{091D61D9-290F-45DC-A551-26B4D050B1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0967792"/>
              </p:ext>
            </p:extLst>
          </p:nvPr>
        </p:nvGraphicFramePr>
        <p:xfrm>
          <a:off x="8131533" y="3483107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.8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−0.5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92 (0.64, 1.31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71" name="Table 70">
            <a:extLst>
              <a:ext uri="{FF2B5EF4-FFF2-40B4-BE49-F238E27FC236}">
                <a16:creationId xmlns:a16="http://schemas.microsoft.com/office/drawing/2014/main" id="{33F51970-F6EB-480A-A83D-F9FC5F3F9C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9257779"/>
              </p:ext>
            </p:extLst>
          </p:nvPr>
        </p:nvGraphicFramePr>
        <p:xfrm>
          <a:off x="3881592" y="5004877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5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6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−0.1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00 (0.66, 1.51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72" name="Table 71">
            <a:extLst>
              <a:ext uri="{FF2B5EF4-FFF2-40B4-BE49-F238E27FC236}">
                <a16:creationId xmlns:a16="http://schemas.microsoft.com/office/drawing/2014/main" id="{D8949A93-6882-465D-815B-580C47B4DA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9420135"/>
              </p:ext>
            </p:extLst>
          </p:nvPr>
        </p:nvGraphicFramePr>
        <p:xfrm>
          <a:off x="8131533" y="5004877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7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.6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−4.9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08 (0.67, 1.76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FECDE90B-A5B2-4110-B357-A859E2B222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7526" y="5262262"/>
            <a:ext cx="3107504" cy="1086553"/>
          </a:xfrm>
          <a:prstGeom prst="rect">
            <a:avLst/>
          </a:prstGeom>
        </p:spPr>
      </p:pic>
      <p:pic>
        <p:nvPicPr>
          <p:cNvPr id="8" name="Picture 7" descr="A picture containing indoor&#10;&#10;Description automatically generated">
            <a:extLst>
              <a:ext uri="{FF2B5EF4-FFF2-40B4-BE49-F238E27FC236}">
                <a16:creationId xmlns:a16="http://schemas.microsoft.com/office/drawing/2014/main" id="{0B0AD74E-2DC7-48FC-8F3D-81B5DD622C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19358" y="5262262"/>
            <a:ext cx="3107504" cy="108655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A1DF078-F762-4F57-8963-F936E1E83C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67526" y="3745465"/>
            <a:ext cx="3107504" cy="1086553"/>
          </a:xfrm>
          <a:prstGeom prst="rect">
            <a:avLst/>
          </a:prstGeom>
        </p:spPr>
      </p:pic>
      <p:pic>
        <p:nvPicPr>
          <p:cNvPr id="19" name="Picture 18" descr="A close up of a cats face&#10;&#10;Description automatically generated">
            <a:extLst>
              <a:ext uri="{FF2B5EF4-FFF2-40B4-BE49-F238E27FC236}">
                <a16:creationId xmlns:a16="http://schemas.microsoft.com/office/drawing/2014/main" id="{CAABB805-7196-4EEF-97EA-772A9A2966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19358" y="3745465"/>
            <a:ext cx="3107504" cy="1086553"/>
          </a:xfrm>
          <a:prstGeom prst="rect">
            <a:avLst/>
          </a:prstGeom>
        </p:spPr>
      </p:pic>
      <p:pic>
        <p:nvPicPr>
          <p:cNvPr id="22" name="Picture 21" descr="A picture containing indoor&#10;&#10;Description automatically generated">
            <a:extLst>
              <a:ext uri="{FF2B5EF4-FFF2-40B4-BE49-F238E27FC236}">
                <a16:creationId xmlns:a16="http://schemas.microsoft.com/office/drawing/2014/main" id="{550EE42A-6779-46AF-8FA2-C66441F850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7526" y="2256505"/>
            <a:ext cx="3107504" cy="108655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C4482E7-48FB-435B-B1A7-F851A283FD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19358" y="2256505"/>
            <a:ext cx="3107504" cy="1086553"/>
          </a:xfrm>
          <a:prstGeom prst="rect">
            <a:avLst/>
          </a:prstGeom>
        </p:spPr>
      </p:pic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EC12F4C8-591E-4F78-BE43-0CE848FCEBB1}"/>
              </a:ext>
            </a:extLst>
          </p:cNvPr>
          <p:cNvCxnSpPr>
            <a:cxnSpLocks/>
          </p:cNvCxnSpPr>
          <p:nvPr/>
        </p:nvCxnSpPr>
        <p:spPr>
          <a:xfrm flipV="1">
            <a:off x="1416683" y="4145543"/>
            <a:ext cx="898811" cy="48745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A6B5606-9292-4572-AE0B-7BF7BE085DFC}"/>
              </a:ext>
            </a:extLst>
          </p:cNvPr>
          <p:cNvCxnSpPr>
            <a:cxnSpLocks/>
          </p:cNvCxnSpPr>
          <p:nvPr/>
        </p:nvCxnSpPr>
        <p:spPr>
          <a:xfrm flipV="1">
            <a:off x="1371257" y="2493837"/>
            <a:ext cx="884840" cy="1100969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F295FAD-B85F-41EE-BE7C-218BECA1EB20}"/>
              </a:ext>
            </a:extLst>
          </p:cNvPr>
          <p:cNvCxnSpPr>
            <a:cxnSpLocks/>
          </p:cNvCxnSpPr>
          <p:nvPr/>
        </p:nvCxnSpPr>
        <p:spPr>
          <a:xfrm>
            <a:off x="1609723" y="5349084"/>
            <a:ext cx="705771" cy="17731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35">
            <a:extLst>
              <a:ext uri="{FF2B5EF4-FFF2-40B4-BE49-F238E27FC236}">
                <a16:creationId xmlns:a16="http://schemas.microsoft.com/office/drawing/2014/main" id="{150887DE-AA70-47CA-B7E4-188037684699}"/>
              </a:ext>
            </a:extLst>
          </p:cNvPr>
          <p:cNvSpPr txBox="1"/>
          <p:nvPr/>
        </p:nvSpPr>
        <p:spPr>
          <a:xfrm>
            <a:off x="587227" y="3558599"/>
            <a:ext cx="102249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vojitě</a:t>
            </a: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zitivní</a:t>
            </a:r>
            <a:endParaRPr lang="en-US" sz="1400" b="1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36">
            <a:extLst>
              <a:ext uri="{FF2B5EF4-FFF2-40B4-BE49-F238E27FC236}">
                <a16:creationId xmlns:a16="http://schemas.microsoft.com/office/drawing/2014/main" id="{04429112-15DF-48F5-820D-3A4E5BD8331A}"/>
              </a:ext>
            </a:extLst>
          </p:cNvPr>
          <p:cNvSpPr txBox="1"/>
          <p:nvPr/>
        </p:nvSpPr>
        <p:spPr>
          <a:xfrm>
            <a:off x="535632" y="4435438"/>
            <a:ext cx="102249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ednou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zitivní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36">
            <a:extLst>
              <a:ext uri="{FF2B5EF4-FFF2-40B4-BE49-F238E27FC236}">
                <a16:creationId xmlns:a16="http://schemas.microsoft.com/office/drawing/2014/main" id="{8385AC53-E0FC-4251-8BE7-79C236CFA1A6}"/>
              </a:ext>
            </a:extLst>
          </p:cNvPr>
          <p:cNvSpPr txBox="1"/>
          <p:nvPr/>
        </p:nvSpPr>
        <p:spPr>
          <a:xfrm>
            <a:off x="587227" y="5087474"/>
            <a:ext cx="1022496" cy="52322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vojitě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egativní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F86C332-80B6-4A61-B2CE-84415532628A}"/>
              </a:ext>
            </a:extLst>
          </p:cNvPr>
          <p:cNvSpPr txBox="1"/>
          <p:nvPr/>
        </p:nvSpPr>
        <p:spPr>
          <a:xfrm rot="16200000">
            <a:off x="7904526" y="2570051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6C2426D-719A-4E6C-8D14-B256A6ABBC05}"/>
              </a:ext>
            </a:extLst>
          </p:cNvPr>
          <p:cNvSpPr txBox="1"/>
          <p:nvPr/>
        </p:nvSpPr>
        <p:spPr>
          <a:xfrm rot="16200000">
            <a:off x="3650805" y="2544029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23165A6-675C-4E87-86A4-1B3C3478C161}"/>
              </a:ext>
            </a:extLst>
          </p:cNvPr>
          <p:cNvSpPr txBox="1"/>
          <p:nvPr/>
        </p:nvSpPr>
        <p:spPr>
          <a:xfrm>
            <a:off x="5405325" y="4751181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47D32F5-731F-418C-A302-D0812919CE08}"/>
              </a:ext>
            </a:extLst>
          </p:cNvPr>
          <p:cNvSpPr txBox="1"/>
          <p:nvPr/>
        </p:nvSpPr>
        <p:spPr>
          <a:xfrm>
            <a:off x="5409332" y="3254959"/>
            <a:ext cx="570990" cy="451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585"/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49F2437-4BFE-4EE8-918B-2ECEDA5DE125}"/>
              </a:ext>
            </a:extLst>
          </p:cNvPr>
          <p:cNvSpPr txBox="1"/>
          <p:nvPr/>
        </p:nvSpPr>
        <p:spPr>
          <a:xfrm>
            <a:off x="9640334" y="4751181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8CA49C4-98E6-4692-9F1E-2C4AA9A5F771}"/>
              </a:ext>
            </a:extLst>
          </p:cNvPr>
          <p:cNvSpPr txBox="1"/>
          <p:nvPr/>
        </p:nvSpPr>
        <p:spPr>
          <a:xfrm>
            <a:off x="9640334" y="3254959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8B4B4B5-C1ED-446C-A9F9-3992670F3026}"/>
              </a:ext>
            </a:extLst>
          </p:cNvPr>
          <p:cNvSpPr txBox="1"/>
          <p:nvPr/>
        </p:nvSpPr>
        <p:spPr>
          <a:xfrm rot="16200000">
            <a:off x="7904526" y="4052811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5F90F05-D639-4527-ACDA-D3841640F41B}"/>
              </a:ext>
            </a:extLst>
          </p:cNvPr>
          <p:cNvSpPr txBox="1"/>
          <p:nvPr/>
        </p:nvSpPr>
        <p:spPr>
          <a:xfrm rot="16200000">
            <a:off x="3650805" y="4026789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2519073-944D-47AF-935B-E6087C324B11}"/>
              </a:ext>
            </a:extLst>
          </p:cNvPr>
          <p:cNvSpPr txBox="1"/>
          <p:nvPr/>
        </p:nvSpPr>
        <p:spPr>
          <a:xfrm rot="16200000">
            <a:off x="7904527" y="5583859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7DD969B-F292-4660-9F65-B287D579F886}"/>
              </a:ext>
            </a:extLst>
          </p:cNvPr>
          <p:cNvSpPr txBox="1"/>
          <p:nvPr/>
        </p:nvSpPr>
        <p:spPr>
          <a:xfrm rot="16200000">
            <a:off x="3650805" y="5557837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6865605-5E07-4C06-A437-8CF17ED31E84}"/>
              </a:ext>
            </a:extLst>
          </p:cNvPr>
          <p:cNvSpPr txBox="1"/>
          <p:nvPr/>
        </p:nvSpPr>
        <p:spPr>
          <a:xfrm>
            <a:off x="5405325" y="6258077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312F8AF-ABD1-4A21-B398-5D5108A613AE}"/>
              </a:ext>
            </a:extLst>
          </p:cNvPr>
          <p:cNvSpPr txBox="1"/>
          <p:nvPr/>
        </p:nvSpPr>
        <p:spPr>
          <a:xfrm>
            <a:off x="9644341" y="6258077"/>
            <a:ext cx="570989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bdélník 52"/>
          <p:cNvSpPr/>
          <p:nvPr/>
        </p:nvSpPr>
        <p:spPr>
          <a:xfrm>
            <a:off x="9533074" y="6633376"/>
            <a:ext cx="265892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en-US" sz="800" dirty="0" err="1" smtClean="0">
                <a:solidFill>
                  <a:srgbClr val="000000"/>
                </a:solidFill>
              </a:rPr>
              <a:t>Rugo</a:t>
            </a:r>
            <a:r>
              <a:rPr lang="en-US" sz="800" dirty="0" smtClean="0">
                <a:solidFill>
                  <a:srgbClr val="000000"/>
                </a:solidFill>
              </a:rPr>
              <a:t> et al. Abstract 6571 IMpassion130 PD-L1 IHC</a:t>
            </a: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49" name="Obrázek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54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937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54712AC-1FCA-44F5-806A-1A6060432A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005722"/>
              </p:ext>
            </p:extLst>
          </p:nvPr>
        </p:nvGraphicFramePr>
        <p:xfrm>
          <a:off x="2030301" y="864193"/>
          <a:ext cx="9918713" cy="536448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701305">
                  <a:extLst>
                    <a:ext uri="{9D8B030D-6E8A-4147-A177-3AD203B41FA5}">
                      <a16:colId xmlns:a16="http://schemas.microsoft.com/office/drawing/2014/main" val="4291040024"/>
                    </a:ext>
                  </a:extLst>
                </a:gridCol>
                <a:gridCol w="4108704">
                  <a:extLst>
                    <a:ext uri="{9D8B030D-6E8A-4147-A177-3AD203B41FA5}">
                      <a16:colId xmlns:a16="http://schemas.microsoft.com/office/drawing/2014/main" val="911794881"/>
                    </a:ext>
                  </a:extLst>
                </a:gridCol>
                <a:gridCol w="4108704">
                  <a:extLst>
                    <a:ext uri="{9D8B030D-6E8A-4147-A177-3AD203B41FA5}">
                      <a16:colId xmlns:a16="http://schemas.microsoft.com/office/drawing/2014/main" val="326258956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pulation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90651111"/>
                  </a:ext>
                </a:extLst>
              </a:tr>
              <a:tr h="195072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+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263+</a:t>
                      </a:r>
                    </a:p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5%; 278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5534830"/>
                  </a:ext>
                </a:extLst>
              </a:tr>
              <a:tr h="152400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-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263+</a:t>
                      </a: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0%; 182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8890238"/>
                  </a:ext>
                </a:extLst>
              </a:tr>
              <a:tr h="152400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-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263-</a:t>
                      </a:r>
                    </a:p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4%; 147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6273198"/>
                  </a:ext>
                </a:extLst>
              </a:tr>
            </a:tbl>
          </a:graphicData>
        </a:graphic>
      </p:graphicFrame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96E8A72D-5F25-4D93-9E79-7A017C1299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6058380"/>
              </p:ext>
            </p:extLst>
          </p:nvPr>
        </p:nvGraphicFramePr>
        <p:xfrm>
          <a:off x="8199799" y="1230463"/>
          <a:ext cx="3578189" cy="682752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 gridSpan="3"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án</a:t>
                      </a:r>
                      <a:r>
                        <a:rPr lang="en-US" sz="13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S, m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12192" marB="12192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 </a:t>
                      </a:r>
                    </a:p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121920" marR="12192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921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cs-CZ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en-US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1" u="none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∆ </a:t>
                      </a:r>
                      <a:endParaRPr lang="en-US" sz="13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92202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.9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1 (0.52, 0.97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66" name="Table 65">
            <a:extLst>
              <a:ext uri="{FF2B5EF4-FFF2-40B4-BE49-F238E27FC236}">
                <a16:creationId xmlns:a16="http://schemas.microsoft.com/office/drawing/2014/main" id="{17506F1D-FAD2-4212-86EE-07BBD9369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7807806"/>
              </p:ext>
            </p:extLst>
          </p:nvPr>
        </p:nvGraphicFramePr>
        <p:xfrm>
          <a:off x="3949858" y="1234527"/>
          <a:ext cx="3578189" cy="682752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 gridSpan="3">
                  <a:txBody>
                    <a:bodyPr/>
                    <a:lstStyle/>
                    <a:p>
                      <a:pPr algn="ctr"/>
                      <a:r>
                        <a:rPr lang="en-US" sz="13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án</a:t>
                      </a:r>
                      <a:r>
                        <a:rPr lang="en-US" sz="13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FS, m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12192" marB="12192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 </a:t>
                      </a:r>
                    </a:p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121920" marR="12192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921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cs-CZ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en-US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1" u="none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∆ </a:t>
                      </a:r>
                      <a:endParaRPr lang="en-US" sz="13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92202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1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2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1 (0.47, 0.79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041685-CD77-4FA2-BA68-ADAF9681F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77" y="252407"/>
            <a:ext cx="11610437" cy="479208"/>
          </a:xfrm>
        </p:spPr>
        <p:txBody>
          <a:bodyPr anchor="ctr">
            <a:noAutofit/>
          </a:bodyPr>
          <a:lstStyle/>
          <a:p>
            <a:r>
              <a:rPr lang="en-US" sz="2600" dirty="0" err="1">
                <a:latin typeface="+mj-lt"/>
              </a:rPr>
              <a:t>Klinické</a:t>
            </a:r>
            <a:r>
              <a:rPr lang="en-US" sz="2600" dirty="0">
                <a:latin typeface="+mj-lt"/>
              </a:rPr>
              <a:t> </a:t>
            </a:r>
            <a:r>
              <a:rPr lang="en-US" sz="2600" dirty="0" err="1">
                <a:latin typeface="+mj-lt"/>
              </a:rPr>
              <a:t>výsledky</a:t>
            </a:r>
            <a:r>
              <a:rPr lang="en-US" sz="2600" dirty="0">
                <a:latin typeface="+mj-lt"/>
              </a:rPr>
              <a:t> u BEP </a:t>
            </a:r>
            <a:r>
              <a:rPr lang="en-US" sz="2600" dirty="0" err="1">
                <a:latin typeface="+mj-lt"/>
              </a:rPr>
              <a:t>subpopulace</a:t>
            </a:r>
            <a:r>
              <a:rPr lang="cs-CZ" sz="2600" dirty="0">
                <a:latin typeface="+mj-lt"/>
              </a:rPr>
              <a:t> </a:t>
            </a:r>
            <a:r>
              <a:rPr lang="cs-CZ" sz="2600" dirty="0" smtClean="0">
                <a:latin typeface="+mj-lt"/>
              </a:rPr>
              <a:t>                                                               dle</a:t>
            </a:r>
            <a:r>
              <a:rPr lang="en-US" sz="2600" dirty="0" smtClean="0">
                <a:latin typeface="+mj-lt"/>
              </a:rPr>
              <a:t> SP142</a:t>
            </a:r>
            <a:r>
              <a:rPr lang="cs-CZ" sz="2600" dirty="0" smtClean="0">
                <a:latin typeface="+mj-lt"/>
              </a:rPr>
              <a:t> </a:t>
            </a:r>
            <a:r>
              <a:rPr lang="en-US" sz="2600" dirty="0" smtClean="0">
                <a:latin typeface="+mj-lt"/>
              </a:rPr>
              <a:t>(</a:t>
            </a:r>
            <a:r>
              <a:rPr lang="en-US" sz="2600" dirty="0">
                <a:latin typeface="+mj-lt"/>
              </a:rPr>
              <a:t>IC 1%) a SP263 (IC 1%)</a:t>
            </a:r>
            <a:r>
              <a:rPr lang="cs-CZ" sz="2600" dirty="0">
                <a:latin typeface="+mj-lt"/>
              </a:rPr>
              <a:t> </a:t>
            </a:r>
            <a:r>
              <a:rPr lang="cs-CZ" sz="2500" baseline="30000" dirty="0">
                <a:solidFill>
                  <a:srgbClr val="830065"/>
                </a:solidFill>
              </a:rPr>
              <a:t>1</a:t>
            </a:r>
            <a:endParaRPr lang="en-US" sz="2500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199AF02-ED36-4F8A-8EE5-3C721B254E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180" y="6336250"/>
            <a:ext cx="9520865" cy="451404"/>
          </a:xfrm>
        </p:spPr>
        <p:txBody>
          <a:bodyPr>
            <a:noAutofit/>
          </a:bodyPr>
          <a:lstStyle/>
          <a:p>
            <a:r>
              <a:rPr lang="en-US" sz="800" dirty="0"/>
              <a:t>Double positive: SP142 IC ≥ 1%, SP263 IC ≥ 1%; single positive: SP142 IC &lt; 1%, SP263 IC ≥ 1%; double negative: SP142 IC &lt; 1%, SP263 IC &lt; 1%. </a:t>
            </a:r>
          </a:p>
          <a:p>
            <a:r>
              <a:rPr lang="en-US" sz="800" dirty="0"/>
              <a:t>HR adjusted for prior taxanes, presence of liver metastases, age and ECOG PS.</a:t>
            </a: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F1C6A2E3-D461-4A85-98EF-CF65192D8D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0805641"/>
              </p:ext>
            </p:extLst>
          </p:nvPr>
        </p:nvGraphicFramePr>
        <p:xfrm>
          <a:off x="3949858" y="3178293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0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8 (0.49, 0.94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70" name="Table 69">
            <a:extLst>
              <a:ext uri="{FF2B5EF4-FFF2-40B4-BE49-F238E27FC236}">
                <a16:creationId xmlns:a16="http://schemas.microsoft.com/office/drawing/2014/main" id="{091D61D9-290F-45DC-A551-26B4D050B1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9303447"/>
              </p:ext>
            </p:extLst>
          </p:nvPr>
        </p:nvGraphicFramePr>
        <p:xfrm>
          <a:off x="8199799" y="3178293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.0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7 (0.58, 1.29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71" name="Table 70">
            <a:extLst>
              <a:ext uri="{FF2B5EF4-FFF2-40B4-BE49-F238E27FC236}">
                <a16:creationId xmlns:a16="http://schemas.microsoft.com/office/drawing/2014/main" id="{33F51970-F6EB-480A-A83D-F9FC5F3F9C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5800422"/>
              </p:ext>
            </p:extLst>
          </p:nvPr>
        </p:nvGraphicFramePr>
        <p:xfrm>
          <a:off x="3949858" y="4700063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5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9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−1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3 (0.79, 1.61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72" name="Table 71">
            <a:extLst>
              <a:ext uri="{FF2B5EF4-FFF2-40B4-BE49-F238E27FC236}">
                <a16:creationId xmlns:a16="http://schemas.microsoft.com/office/drawing/2014/main" id="{D8949A93-6882-465D-815B-580C47B4DA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3371184"/>
              </p:ext>
            </p:extLst>
          </p:nvPr>
        </p:nvGraphicFramePr>
        <p:xfrm>
          <a:off x="8199799" y="4700063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.9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5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−2.6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0 (0.72, 1.68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pSp>
        <p:nvGrpSpPr>
          <p:cNvPr id="33" name="Group 32">
            <a:extLst>
              <a:ext uri="{FF2B5EF4-FFF2-40B4-BE49-F238E27FC236}">
                <a16:creationId xmlns:a16="http://schemas.microsoft.com/office/drawing/2014/main" id="{D781D8EB-E8C3-4456-843C-03FB2ADE7F65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132385" y="2863385"/>
            <a:ext cx="1869162" cy="1728266"/>
            <a:chOff x="4130212" y="6460736"/>
            <a:chExt cx="2969542" cy="2862074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8192D38-EEDA-4F24-A355-8982F3BE02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37681" y="6460736"/>
              <a:ext cx="2862073" cy="2862074"/>
            </a:xfrm>
            <a:prstGeom prst="ellipse">
              <a:avLst/>
            </a:prstGeom>
            <a:solidFill>
              <a:srgbClr val="ED6B53">
                <a:alpha val="50000"/>
              </a:srgb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27CB83E-0D3A-4304-ABA3-5611B9CEFD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30212" y="6822040"/>
              <a:ext cx="2157984" cy="2157985"/>
            </a:xfrm>
            <a:prstGeom prst="ellipse">
              <a:avLst/>
            </a:prstGeom>
            <a:solidFill>
              <a:schemeClr val="tx1">
                <a:alpha val="50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" name="Picture 5" descr="A close up of a screen&#10;&#10;Description automatically generated">
            <a:extLst>
              <a:ext uri="{FF2B5EF4-FFF2-40B4-BE49-F238E27FC236}">
                <a16:creationId xmlns:a16="http://schemas.microsoft.com/office/drawing/2014/main" id="{755E7CC7-DD24-45BE-BB46-BFEAB8B455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5792" y="1951691"/>
            <a:ext cx="3107504" cy="1086553"/>
          </a:xfrm>
          <a:prstGeom prst="rect">
            <a:avLst/>
          </a:prstGeom>
        </p:spPr>
      </p:pic>
      <p:pic>
        <p:nvPicPr>
          <p:cNvPr id="8" name="Picture 7" descr="A picture containing indoor&#10;&#10;Description automatically generated">
            <a:extLst>
              <a:ext uri="{FF2B5EF4-FFF2-40B4-BE49-F238E27FC236}">
                <a16:creationId xmlns:a16="http://schemas.microsoft.com/office/drawing/2014/main" id="{F9FA8F0A-7A39-4916-9D2E-93920D7119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7624" y="1951691"/>
            <a:ext cx="3107504" cy="1086553"/>
          </a:xfrm>
          <a:prstGeom prst="rect">
            <a:avLst/>
          </a:prstGeom>
        </p:spPr>
      </p:pic>
      <p:pic>
        <p:nvPicPr>
          <p:cNvPr id="19" name="Picture 18" descr="A picture containing indoor&#10;&#10;Description automatically generated">
            <a:extLst>
              <a:ext uri="{FF2B5EF4-FFF2-40B4-BE49-F238E27FC236}">
                <a16:creationId xmlns:a16="http://schemas.microsoft.com/office/drawing/2014/main" id="{2637031C-3BB2-48DE-82C0-D00A23B393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5792" y="3440651"/>
            <a:ext cx="3107504" cy="108655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7D1EEBC-8B99-48D5-A9B1-A26A84E3F5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7624" y="3440651"/>
            <a:ext cx="3107504" cy="108655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1BA32F0-0C05-4E45-9C8E-35B12AB8BE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35792" y="4957448"/>
            <a:ext cx="3107504" cy="1086553"/>
          </a:xfrm>
          <a:prstGeom prst="rect">
            <a:avLst/>
          </a:prstGeom>
        </p:spPr>
      </p:pic>
      <p:pic>
        <p:nvPicPr>
          <p:cNvPr id="26" name="Picture 25" descr="A picture containing object&#10;&#10;Description automatically generated">
            <a:extLst>
              <a:ext uri="{FF2B5EF4-FFF2-40B4-BE49-F238E27FC236}">
                <a16:creationId xmlns:a16="http://schemas.microsoft.com/office/drawing/2014/main" id="{5113E526-5CC5-4FF0-AB08-3994969908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87624" y="4957448"/>
            <a:ext cx="3107504" cy="1086553"/>
          </a:xfrm>
          <a:prstGeom prst="rect">
            <a:avLst/>
          </a:prstGeom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37103D3-BBB3-4D38-A6DA-CF54357785F0}"/>
              </a:ext>
            </a:extLst>
          </p:cNvPr>
          <p:cNvCxnSpPr>
            <a:cxnSpLocks/>
          </p:cNvCxnSpPr>
          <p:nvPr/>
        </p:nvCxnSpPr>
        <p:spPr>
          <a:xfrm flipV="1">
            <a:off x="1484949" y="3840729"/>
            <a:ext cx="898811" cy="48745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91E873BE-6BDC-4AD3-BA9C-4B009148C1A6}"/>
              </a:ext>
            </a:extLst>
          </p:cNvPr>
          <p:cNvCxnSpPr>
            <a:cxnSpLocks/>
          </p:cNvCxnSpPr>
          <p:nvPr/>
        </p:nvCxnSpPr>
        <p:spPr>
          <a:xfrm flipV="1">
            <a:off x="1439523" y="2189023"/>
            <a:ext cx="884840" cy="1100969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EE9269A-9FCB-4A0B-AD3C-79EF22B2D1C2}"/>
              </a:ext>
            </a:extLst>
          </p:cNvPr>
          <p:cNvCxnSpPr>
            <a:cxnSpLocks/>
          </p:cNvCxnSpPr>
          <p:nvPr/>
        </p:nvCxnSpPr>
        <p:spPr>
          <a:xfrm>
            <a:off x="1677989" y="5044270"/>
            <a:ext cx="705771" cy="17731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35">
            <a:extLst>
              <a:ext uri="{FF2B5EF4-FFF2-40B4-BE49-F238E27FC236}">
                <a16:creationId xmlns:a16="http://schemas.microsoft.com/office/drawing/2014/main" id="{55F94234-6C89-4395-8140-16C5D4D86598}"/>
              </a:ext>
            </a:extLst>
          </p:cNvPr>
          <p:cNvSpPr txBox="1"/>
          <p:nvPr/>
        </p:nvSpPr>
        <p:spPr>
          <a:xfrm>
            <a:off x="655493" y="3253785"/>
            <a:ext cx="102249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vojitě</a:t>
            </a: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zitivní</a:t>
            </a:r>
            <a:endParaRPr lang="en-US" sz="1400" b="1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36">
            <a:extLst>
              <a:ext uri="{FF2B5EF4-FFF2-40B4-BE49-F238E27FC236}">
                <a16:creationId xmlns:a16="http://schemas.microsoft.com/office/drawing/2014/main" id="{01C2F200-0E76-4B20-9841-171470F0BFE7}"/>
              </a:ext>
            </a:extLst>
          </p:cNvPr>
          <p:cNvSpPr txBox="1"/>
          <p:nvPr/>
        </p:nvSpPr>
        <p:spPr>
          <a:xfrm>
            <a:off x="549631" y="4126896"/>
            <a:ext cx="102249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ednou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zitivní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6">
            <a:extLst>
              <a:ext uri="{FF2B5EF4-FFF2-40B4-BE49-F238E27FC236}">
                <a16:creationId xmlns:a16="http://schemas.microsoft.com/office/drawing/2014/main" id="{82981A69-421C-4BB3-84B4-C5155A8713F7}"/>
              </a:ext>
            </a:extLst>
          </p:cNvPr>
          <p:cNvSpPr txBox="1"/>
          <p:nvPr/>
        </p:nvSpPr>
        <p:spPr>
          <a:xfrm>
            <a:off x="655493" y="4782660"/>
            <a:ext cx="1022496" cy="52322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vojitě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egativní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18F5AC3-0040-4347-8668-CAE65251501B}"/>
              </a:ext>
            </a:extLst>
          </p:cNvPr>
          <p:cNvSpPr txBox="1"/>
          <p:nvPr/>
        </p:nvSpPr>
        <p:spPr>
          <a:xfrm rot="16200000">
            <a:off x="7972792" y="2265237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F1AC492-6288-4DD4-A8D8-EFA72AF6379E}"/>
              </a:ext>
            </a:extLst>
          </p:cNvPr>
          <p:cNvSpPr txBox="1"/>
          <p:nvPr/>
        </p:nvSpPr>
        <p:spPr>
          <a:xfrm rot="16200000">
            <a:off x="3719071" y="2239215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6A64F6D-B888-4786-AD95-8DB02E60BFE8}"/>
              </a:ext>
            </a:extLst>
          </p:cNvPr>
          <p:cNvSpPr txBox="1"/>
          <p:nvPr/>
        </p:nvSpPr>
        <p:spPr>
          <a:xfrm>
            <a:off x="5477599" y="4446367"/>
            <a:ext cx="570990" cy="451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585"/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D7B7E99-BF2F-4FFD-85E8-260DE3180676}"/>
              </a:ext>
            </a:extLst>
          </p:cNvPr>
          <p:cNvSpPr txBox="1"/>
          <p:nvPr/>
        </p:nvSpPr>
        <p:spPr>
          <a:xfrm>
            <a:off x="5477599" y="2950145"/>
            <a:ext cx="570990" cy="451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585"/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709BD93-7F47-418B-99FD-806B2D29E486}"/>
              </a:ext>
            </a:extLst>
          </p:cNvPr>
          <p:cNvSpPr txBox="1"/>
          <p:nvPr/>
        </p:nvSpPr>
        <p:spPr>
          <a:xfrm>
            <a:off x="9712607" y="4446367"/>
            <a:ext cx="570990" cy="451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585"/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CFA16F0-B1A5-4437-8086-8283050097CE}"/>
              </a:ext>
            </a:extLst>
          </p:cNvPr>
          <p:cNvSpPr txBox="1"/>
          <p:nvPr/>
        </p:nvSpPr>
        <p:spPr>
          <a:xfrm>
            <a:off x="9708600" y="2950145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83DEC5F-D6DD-4923-B0C6-8A3FE70B4A29}"/>
              </a:ext>
            </a:extLst>
          </p:cNvPr>
          <p:cNvSpPr txBox="1"/>
          <p:nvPr/>
        </p:nvSpPr>
        <p:spPr>
          <a:xfrm rot="16200000">
            <a:off x="7972792" y="3747997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70746BA-814A-49EE-B765-EBAC7E310AFE}"/>
              </a:ext>
            </a:extLst>
          </p:cNvPr>
          <p:cNvSpPr txBox="1"/>
          <p:nvPr/>
        </p:nvSpPr>
        <p:spPr>
          <a:xfrm rot="16200000">
            <a:off x="3719071" y="3721975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DCD70E3-27F7-49B2-A067-E4851EDD6F64}"/>
              </a:ext>
            </a:extLst>
          </p:cNvPr>
          <p:cNvSpPr txBox="1"/>
          <p:nvPr/>
        </p:nvSpPr>
        <p:spPr>
          <a:xfrm rot="16200000">
            <a:off x="7972792" y="5279045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E969673-3710-43BD-B30C-1D9D63E98023}"/>
              </a:ext>
            </a:extLst>
          </p:cNvPr>
          <p:cNvSpPr txBox="1"/>
          <p:nvPr/>
        </p:nvSpPr>
        <p:spPr>
          <a:xfrm rot="16200000">
            <a:off x="3719071" y="5253023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79257E3-26DC-4AC3-93E4-D90B9D7D7807}"/>
              </a:ext>
            </a:extLst>
          </p:cNvPr>
          <p:cNvSpPr txBox="1"/>
          <p:nvPr/>
        </p:nvSpPr>
        <p:spPr>
          <a:xfrm>
            <a:off x="5473591" y="5953263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9583614-08F6-4DE0-8C9F-82D1EDC1565D}"/>
              </a:ext>
            </a:extLst>
          </p:cNvPr>
          <p:cNvSpPr txBox="1"/>
          <p:nvPr/>
        </p:nvSpPr>
        <p:spPr>
          <a:xfrm>
            <a:off x="9708600" y="5953263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Obdélník 40"/>
          <p:cNvSpPr/>
          <p:nvPr/>
        </p:nvSpPr>
        <p:spPr>
          <a:xfrm>
            <a:off x="9520865" y="6656780"/>
            <a:ext cx="295897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en-US" sz="800" dirty="0" err="1" smtClean="0">
                <a:solidFill>
                  <a:srgbClr val="000000"/>
                </a:solidFill>
              </a:rPr>
              <a:t>Rugo</a:t>
            </a:r>
            <a:r>
              <a:rPr lang="en-US" sz="800" dirty="0" smtClean="0">
                <a:solidFill>
                  <a:srgbClr val="000000"/>
                </a:solidFill>
              </a:rPr>
              <a:t> et al. Abstract 6571 IMpassion130 PD-L1 IHC</a:t>
            </a: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40" name="Obrázek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72309" y="33629"/>
            <a:ext cx="1304248" cy="792088"/>
          </a:xfrm>
          <a:prstGeom prst="rect">
            <a:avLst/>
          </a:prstGeom>
        </p:spPr>
      </p:pic>
      <p:sp>
        <p:nvSpPr>
          <p:cNvPr id="54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7220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00909" y="898496"/>
            <a:ext cx="11349329" cy="415117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cs-CZ" sz="1600" b="0" baseline="30000" dirty="0" smtClean="0"/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sz="1600" b="0" dirty="0"/>
              <a:t>Klinický přínos kombinace </a:t>
            </a:r>
            <a:r>
              <a:rPr lang="cs-CZ" sz="1600" b="0" dirty="0" err="1" smtClean="0"/>
              <a:t>atezolizumab</a:t>
            </a:r>
            <a:r>
              <a:rPr lang="cs-CZ" sz="1600" b="0" dirty="0" smtClean="0"/>
              <a:t> </a:t>
            </a:r>
            <a:r>
              <a:rPr lang="cs-CZ" sz="1600" b="0" dirty="0"/>
              <a:t>+ </a:t>
            </a:r>
            <a:r>
              <a:rPr lang="cs-CZ" sz="1600" b="0" dirty="0" err="1"/>
              <a:t>nab-paklitaxel</a:t>
            </a:r>
            <a:r>
              <a:rPr lang="cs-CZ" sz="1600" b="0" dirty="0"/>
              <a:t> je potvrzen pro pacienty s expresí PD-L1 </a:t>
            </a:r>
            <a:r>
              <a:rPr lang="cs-CZ" sz="1600" b="0" dirty="0" smtClean="0"/>
              <a:t>na IC </a:t>
            </a:r>
            <a:r>
              <a:rPr lang="cs-CZ" sz="1600" b="0" dirty="0"/>
              <a:t>stanovenou pomocí testu VENTANA SP142.</a:t>
            </a:r>
            <a:r>
              <a:rPr lang="cs-CZ" sz="1600" baseline="30000" dirty="0">
                <a:solidFill>
                  <a:srgbClr val="830065"/>
                </a:solidFill>
              </a:rPr>
              <a:t> 1</a:t>
            </a:r>
            <a:endParaRPr lang="cs-CZ" sz="1600" b="0" dirty="0"/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b="0" dirty="0" err="1" smtClean="0"/>
              <a:t>Klinická</a:t>
            </a:r>
            <a:r>
              <a:rPr lang="en-US" sz="1600" b="0" dirty="0" smtClean="0"/>
              <a:t> </a:t>
            </a:r>
            <a:r>
              <a:rPr lang="en-US" sz="1600" b="0" dirty="0" err="1"/>
              <a:t>aktivita</a:t>
            </a:r>
            <a:r>
              <a:rPr lang="en-US" sz="1600" b="0" dirty="0"/>
              <a:t> </a:t>
            </a:r>
            <a:r>
              <a:rPr lang="en-US" sz="1600" b="0" dirty="0" err="1"/>
              <a:t>byla</a:t>
            </a:r>
            <a:r>
              <a:rPr lang="en-US" sz="1600" b="0" dirty="0"/>
              <a:t> </a:t>
            </a:r>
            <a:r>
              <a:rPr lang="en-US" sz="1600" b="0" dirty="0" err="1"/>
              <a:t>pozorována</a:t>
            </a:r>
            <a:r>
              <a:rPr lang="en-US" sz="1600" b="0" dirty="0"/>
              <a:t> v </a:t>
            </a:r>
            <a:r>
              <a:rPr lang="en-US" sz="1600" b="0" dirty="0" err="1"/>
              <a:t>podskupině</a:t>
            </a:r>
            <a:r>
              <a:rPr lang="en-US" sz="1600" b="0" dirty="0"/>
              <a:t> </a:t>
            </a:r>
            <a:r>
              <a:rPr lang="en-US" sz="1600" b="0" dirty="0" smtClean="0"/>
              <a:t>PD-L1 </a:t>
            </a:r>
            <a:r>
              <a:rPr lang="cs-CZ" sz="1600" b="0" dirty="0" smtClean="0"/>
              <a:t>pozitivních pacientů dle testu VENTANA SP142</a:t>
            </a:r>
            <a:r>
              <a:rPr lang="en-US" sz="1600" b="0" dirty="0" smtClean="0"/>
              <a:t> </a:t>
            </a:r>
            <a:r>
              <a:rPr lang="cs-CZ" sz="1600" b="0" dirty="0" smtClean="0"/>
              <a:t>                                         </a:t>
            </a:r>
            <a:r>
              <a:rPr lang="en-US" sz="1600" b="0" dirty="0" smtClean="0"/>
              <a:t>bez </a:t>
            </a:r>
            <a:r>
              <a:rPr lang="en-US" sz="1600" b="0" dirty="0" err="1"/>
              <a:t>ohledu</a:t>
            </a:r>
            <a:r>
              <a:rPr lang="en-US" sz="1600" b="0" dirty="0"/>
              <a:t> </a:t>
            </a:r>
            <a:r>
              <a:rPr lang="cs-CZ" sz="1600" b="0" dirty="0" smtClean="0"/>
              <a:t>na původ </a:t>
            </a:r>
            <a:r>
              <a:rPr lang="en-US" sz="1600" b="0" dirty="0" err="1" smtClean="0"/>
              <a:t>vzork</a:t>
            </a:r>
            <a:r>
              <a:rPr lang="cs-CZ" sz="1600" b="0" dirty="0" smtClean="0"/>
              <a:t>u - </a:t>
            </a:r>
            <a:r>
              <a:rPr lang="cs-CZ" sz="1600" dirty="0" smtClean="0"/>
              <a:t>benefit u vzorku</a:t>
            </a:r>
            <a:r>
              <a:rPr lang="en-US" sz="1600" dirty="0" smtClean="0"/>
              <a:t> </a:t>
            </a:r>
            <a:r>
              <a:rPr lang="en-US" sz="1600" dirty="0"/>
              <a:t>z </a:t>
            </a:r>
            <a:r>
              <a:rPr lang="en-US" sz="1600" dirty="0" err="1"/>
              <a:t>primárního</a:t>
            </a:r>
            <a:r>
              <a:rPr lang="en-US" sz="1600" dirty="0"/>
              <a:t> </a:t>
            </a:r>
            <a:r>
              <a:rPr lang="en-US" sz="1600" dirty="0" err="1"/>
              <a:t>nádoru</a:t>
            </a:r>
            <a:r>
              <a:rPr lang="en-US" sz="1600" dirty="0"/>
              <a:t> </a:t>
            </a:r>
            <a:r>
              <a:rPr lang="cs-CZ" sz="1600" dirty="0" smtClean="0"/>
              <a:t>i</a:t>
            </a:r>
            <a:r>
              <a:rPr lang="en-US" sz="1600" dirty="0" smtClean="0"/>
              <a:t> </a:t>
            </a:r>
            <a:r>
              <a:rPr lang="en-US" sz="1600" dirty="0" err="1"/>
              <a:t>metastatické</a:t>
            </a:r>
            <a:r>
              <a:rPr lang="en-US" sz="1600" dirty="0"/>
              <a:t> </a:t>
            </a:r>
            <a:r>
              <a:rPr lang="en-US" sz="1600" dirty="0" err="1" smtClean="0"/>
              <a:t>tkáně</a:t>
            </a:r>
            <a:r>
              <a:rPr lang="cs-CZ" sz="1600" b="0" baseline="30000" dirty="0" smtClean="0"/>
              <a:t>1</a:t>
            </a:r>
            <a:endParaRPr lang="en-US" sz="1600" b="0" dirty="0"/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sz="1600" b="0" dirty="0" smtClean="0"/>
              <a:t>Celkové </a:t>
            </a:r>
            <a:r>
              <a:rPr lang="en-US" sz="1600" b="0" dirty="0" err="1" smtClean="0"/>
              <a:t>procento</a:t>
            </a:r>
            <a:r>
              <a:rPr lang="en-US" sz="1600" b="0" dirty="0" smtClean="0"/>
              <a:t> </a:t>
            </a:r>
            <a:r>
              <a:rPr lang="en-US" sz="1600" b="0" dirty="0" err="1"/>
              <a:t>shody</a:t>
            </a:r>
            <a:r>
              <a:rPr lang="en-US" sz="1600" b="0" dirty="0"/>
              <a:t> </a:t>
            </a:r>
            <a:r>
              <a:rPr lang="en-US" sz="1600" b="0" dirty="0" smtClean="0"/>
              <a:t>64</a:t>
            </a:r>
            <a:r>
              <a:rPr lang="en-US" sz="1600" b="0" dirty="0"/>
              <a:t>% (22C3) a 69% (SP263</a:t>
            </a:r>
            <a:r>
              <a:rPr lang="en-US" sz="1600" b="0" dirty="0" smtClean="0"/>
              <a:t>)</a:t>
            </a:r>
            <a:r>
              <a:rPr lang="cs-CZ" sz="1600" b="0" dirty="0" smtClean="0"/>
              <a:t> s testem SP142 ukázalo, že testy</a:t>
            </a:r>
            <a:r>
              <a:rPr lang="en-US" sz="1600" b="0" dirty="0" smtClean="0"/>
              <a:t> </a:t>
            </a:r>
            <a:r>
              <a:rPr lang="en-US" sz="1600" dirty="0"/>
              <a:t>NEJSOU EKVIVALENTNÍ </a:t>
            </a:r>
            <a:r>
              <a:rPr lang="cs-CZ" sz="1600" b="0" baseline="30000" dirty="0" smtClean="0"/>
              <a:t>1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sz="1600" b="0" dirty="0" smtClean="0"/>
              <a:t>PD-L1 </a:t>
            </a:r>
            <a:r>
              <a:rPr lang="cs-CZ" sz="1600" b="0" dirty="0"/>
              <a:t>IHC testy 22C3 a SP263 identifikují širší populaci pacientů při hodnocení pozitivity exprese PD-L1 za použití standardních mezních hodnot (22C3 (CPS </a:t>
            </a:r>
            <a:r>
              <a:rPr lang="en-US" sz="1600" b="0" dirty="0"/>
              <a:t>≥ </a:t>
            </a:r>
            <a:r>
              <a:rPr lang="cs-CZ" sz="1600" b="0" dirty="0" smtClean="0"/>
              <a:t>1</a:t>
            </a:r>
            <a:r>
              <a:rPr lang="cs-CZ" sz="1600" b="0" dirty="0"/>
              <a:t>) a SP263 (</a:t>
            </a:r>
            <a:r>
              <a:rPr lang="cs-CZ" sz="1600" b="0" dirty="0" smtClean="0"/>
              <a:t>IC </a:t>
            </a:r>
            <a:r>
              <a:rPr lang="en-US" sz="1600" b="0" dirty="0"/>
              <a:t>≥</a:t>
            </a:r>
            <a:r>
              <a:rPr lang="cs-CZ" sz="1600" b="0" dirty="0" smtClean="0"/>
              <a:t> </a:t>
            </a:r>
            <a:r>
              <a:rPr lang="cs-CZ" sz="1600" b="0" dirty="0"/>
              <a:t>1</a:t>
            </a:r>
            <a:r>
              <a:rPr lang="cs-CZ" sz="1600" b="0" dirty="0" smtClean="0"/>
              <a:t>%))</a:t>
            </a:r>
            <a:r>
              <a:rPr lang="cs-CZ" sz="1600" baseline="30000" dirty="0">
                <a:solidFill>
                  <a:srgbClr val="830065"/>
                </a:solidFill>
              </a:rPr>
              <a:t> </a:t>
            </a:r>
            <a:r>
              <a:rPr lang="cs-CZ" sz="1600" baseline="30000" dirty="0" smtClean="0">
                <a:solidFill>
                  <a:srgbClr val="830065"/>
                </a:solidFill>
              </a:rPr>
              <a:t>1</a:t>
            </a:r>
          </a:p>
          <a:p>
            <a:pPr>
              <a:spcAft>
                <a:spcPts val="800"/>
              </a:spcAft>
            </a:pPr>
            <a:endParaRPr lang="cs-CZ" sz="1600" b="0" dirty="0" smtClean="0"/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/>
              <a:t>Stanovení</a:t>
            </a:r>
            <a:r>
              <a:rPr lang="en-US" sz="1600" dirty="0" smtClean="0"/>
              <a:t> </a:t>
            </a:r>
            <a:r>
              <a:rPr lang="en-US" sz="1600" dirty="0" err="1"/>
              <a:t>exprese</a:t>
            </a:r>
            <a:r>
              <a:rPr lang="en-US" sz="1600" dirty="0"/>
              <a:t> PD-L1 ≥ 1 % </a:t>
            </a:r>
            <a:r>
              <a:rPr lang="en-US" sz="1600" dirty="0" err="1"/>
              <a:t>testem</a:t>
            </a:r>
            <a:r>
              <a:rPr lang="en-US" sz="1600" dirty="0"/>
              <a:t> VENTANA SP142 </a:t>
            </a:r>
            <a:r>
              <a:rPr lang="en-US" sz="1600" dirty="0" err="1"/>
              <a:t>nejpřesněji</a:t>
            </a:r>
            <a:r>
              <a:rPr lang="en-US" sz="1600" dirty="0"/>
              <a:t> </a:t>
            </a:r>
            <a:r>
              <a:rPr lang="en-US" sz="1600" dirty="0" err="1"/>
              <a:t>definuje</a:t>
            </a:r>
            <a:r>
              <a:rPr lang="en-US" sz="1600" dirty="0"/>
              <a:t> </a:t>
            </a:r>
            <a:r>
              <a:rPr lang="en-US" sz="1600" dirty="0" err="1"/>
              <a:t>pacienty</a:t>
            </a:r>
            <a:r>
              <a:rPr lang="en-US" sz="1600" dirty="0"/>
              <a:t>, </a:t>
            </a:r>
            <a:r>
              <a:rPr lang="en-US" sz="1600" dirty="0" err="1"/>
              <a:t>kteří</a:t>
            </a:r>
            <a:r>
              <a:rPr lang="en-US" sz="1600" dirty="0"/>
              <a:t> </a:t>
            </a:r>
            <a:r>
              <a:rPr lang="en-US" sz="1600" dirty="0" err="1"/>
              <a:t>mohou</a:t>
            </a:r>
            <a:r>
              <a:rPr lang="en-US" sz="1600" dirty="0"/>
              <a:t> </a:t>
            </a:r>
            <a:r>
              <a:rPr lang="en-US" sz="1600" dirty="0" err="1"/>
              <a:t>mít</a:t>
            </a:r>
            <a:r>
              <a:rPr lang="en-US" sz="1600" dirty="0"/>
              <a:t> </a:t>
            </a:r>
            <a:r>
              <a:rPr lang="en-US" sz="1600" dirty="0" err="1"/>
              <a:t>prospěch</a:t>
            </a:r>
            <a:r>
              <a:rPr lang="en-US" sz="1600" dirty="0"/>
              <a:t> z </a:t>
            </a:r>
            <a:r>
              <a:rPr lang="en-US" sz="1600" dirty="0" err="1"/>
              <a:t>léčby</a:t>
            </a:r>
            <a:r>
              <a:rPr lang="en-US" sz="1600" dirty="0"/>
              <a:t> </a:t>
            </a:r>
            <a:r>
              <a:rPr lang="en-US" sz="1600" dirty="0" err="1"/>
              <a:t>kombinací</a:t>
            </a:r>
            <a:r>
              <a:rPr lang="en-US" sz="1600" dirty="0"/>
              <a:t> </a:t>
            </a:r>
            <a:r>
              <a:rPr lang="cs-CZ" sz="1600" dirty="0" err="1" smtClean="0"/>
              <a:t>atezolizumab</a:t>
            </a:r>
            <a:r>
              <a:rPr lang="en-US" sz="1600" dirty="0" smtClean="0"/>
              <a:t> +</a:t>
            </a:r>
            <a:r>
              <a:rPr lang="cs-CZ" sz="1600" dirty="0" smtClean="0"/>
              <a:t>nab-paklitaxel</a:t>
            </a:r>
            <a:r>
              <a:rPr lang="cs-CZ" sz="1600" baseline="30000" dirty="0" smtClean="0"/>
              <a:t>1</a:t>
            </a:r>
            <a:endParaRPr lang="cs-CZ" sz="1600" baseline="30000" dirty="0"/>
          </a:p>
          <a:p>
            <a:pPr>
              <a:spcAft>
                <a:spcPts val="800"/>
              </a:spcAft>
            </a:pPr>
            <a:endParaRPr lang="en-US" sz="1600" dirty="0">
              <a:solidFill>
                <a:srgbClr val="000000"/>
              </a:solidFill>
            </a:endParaRPr>
          </a:p>
          <a:p>
            <a:pPr>
              <a:spcAft>
                <a:spcPts val="800"/>
              </a:spcAft>
            </a:pPr>
            <a:endParaRPr lang="en-US" sz="1600" dirty="0"/>
          </a:p>
          <a:p>
            <a:endParaRPr lang="cs-CZ" sz="2400" dirty="0"/>
          </a:p>
          <a:p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věry</a:t>
            </a:r>
          </a:p>
        </p:txBody>
      </p:sp>
      <p:sp>
        <p:nvSpPr>
          <p:cNvPr id="6" name="Obdélník 5"/>
          <p:cNvSpPr/>
          <p:nvPr/>
        </p:nvSpPr>
        <p:spPr>
          <a:xfrm>
            <a:off x="0" y="6642556"/>
            <a:ext cx="1165023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en-US" sz="800" dirty="0" err="1">
                <a:solidFill>
                  <a:srgbClr val="000000"/>
                </a:solidFill>
              </a:rPr>
              <a:t>Rugo</a:t>
            </a:r>
            <a:r>
              <a:rPr lang="en-US" sz="800" dirty="0">
                <a:solidFill>
                  <a:srgbClr val="000000"/>
                </a:solidFill>
              </a:rPr>
              <a:t> et al. Abstract 6571 IMpassion130 PD-L1 IHC</a:t>
            </a:r>
            <a:endParaRPr lang="en-US" sz="8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7" name="Zaoblený obdélník 6"/>
          <p:cNvSpPr/>
          <p:nvPr/>
        </p:nvSpPr>
        <p:spPr>
          <a:xfrm>
            <a:off x="207817" y="4006735"/>
            <a:ext cx="11442421" cy="1537854"/>
          </a:xfrm>
          <a:prstGeom prst="round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cs-CZ" dirty="0" err="1" smtClean="0">
              <a:ln>
                <a:solidFill>
                  <a:srgbClr val="830065"/>
                </a:solidFill>
              </a:ln>
            </a:endParaRPr>
          </a:p>
        </p:txBody>
      </p:sp>
      <p:pic>
        <p:nvPicPr>
          <p:cNvPr id="9" name="Obráze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10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47593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obsah 4"/>
          <p:cNvSpPr>
            <a:spLocks noGrp="1"/>
          </p:cNvSpPr>
          <p:nvPr>
            <p:ph idx="1"/>
          </p:nvPr>
        </p:nvSpPr>
        <p:spPr>
          <a:xfrm>
            <a:off x="47328" y="692696"/>
            <a:ext cx="11810777" cy="5904656"/>
          </a:xfrm>
        </p:spPr>
        <p:txBody>
          <a:bodyPr/>
          <a:lstStyle/>
          <a:p>
            <a:r>
              <a:rPr lang="en-US" sz="800" b="1" dirty="0" err="1"/>
              <a:t>Zkrácená</a:t>
            </a:r>
            <a:r>
              <a:rPr lang="en-US" sz="800" b="1" dirty="0"/>
              <a:t> </a:t>
            </a:r>
            <a:r>
              <a:rPr lang="en-US" sz="800" b="1" dirty="0" err="1"/>
              <a:t>informace</a:t>
            </a:r>
            <a:r>
              <a:rPr lang="en-US" sz="800" b="1" dirty="0"/>
              <a:t> o </a:t>
            </a:r>
            <a:r>
              <a:rPr lang="en-US" sz="800" b="1" dirty="0" err="1"/>
              <a:t>přípravku</a:t>
            </a:r>
            <a:r>
              <a:rPr lang="en-US" sz="800" b="1" dirty="0"/>
              <a:t> TECENTRIQ 840 mg a 1200 mg </a:t>
            </a:r>
            <a:r>
              <a:rPr lang="en-US" sz="800" b="1" dirty="0" err="1"/>
              <a:t>koncentrát</a:t>
            </a:r>
            <a:r>
              <a:rPr lang="en-US" sz="800" b="1" dirty="0"/>
              <a:t> pro </a:t>
            </a:r>
            <a:r>
              <a:rPr lang="en-US" sz="800" b="1" dirty="0" err="1"/>
              <a:t>infuzní</a:t>
            </a:r>
            <a:r>
              <a:rPr lang="en-US" sz="800" b="1" dirty="0"/>
              <a:t> </a:t>
            </a:r>
            <a:r>
              <a:rPr lang="en-US" sz="800" b="1" dirty="0" err="1" smtClean="0"/>
              <a:t>roztok</a:t>
            </a:r>
            <a:r>
              <a:rPr lang="cs-CZ" sz="800" b="1" dirty="0" smtClean="0"/>
              <a:t>,</a:t>
            </a:r>
            <a:r>
              <a:rPr lang="cs-CZ" sz="800" b="1" dirty="0"/>
              <a:t> TECENTRIQ 1 875 mg injekční roztok</a:t>
            </a:r>
            <a:r>
              <a:rPr lang="cs-CZ" sz="800" i="1" dirty="0"/>
              <a:t>*</a:t>
            </a:r>
            <a:r>
              <a:rPr lang="en-US" sz="800" b="1" dirty="0" smtClean="0"/>
              <a:t>.</a:t>
            </a:r>
            <a:r>
              <a:rPr lang="en-US" sz="800" dirty="0" smtClean="0"/>
              <a:t> </a:t>
            </a:r>
            <a:r>
              <a:rPr lang="en-US" sz="800" b="1" dirty="0" err="1"/>
              <a:t>Účinná</a:t>
            </a:r>
            <a:r>
              <a:rPr lang="en-US" sz="800" b="1" dirty="0"/>
              <a:t> </a:t>
            </a:r>
            <a:r>
              <a:rPr lang="en-US" sz="800" b="1" dirty="0" err="1"/>
              <a:t>látka</a:t>
            </a:r>
            <a:r>
              <a:rPr lang="en-US" sz="800" b="1" dirty="0"/>
              <a:t>:</a:t>
            </a:r>
            <a:r>
              <a:rPr lang="en-US" sz="800" dirty="0"/>
              <a:t> </a:t>
            </a:r>
            <a:r>
              <a:rPr lang="en-US" sz="800" dirty="0" err="1"/>
              <a:t>atezolizumabum</a:t>
            </a:r>
            <a:r>
              <a:rPr lang="en-US" sz="800" dirty="0"/>
              <a:t>. </a:t>
            </a:r>
            <a:r>
              <a:rPr lang="en-US" sz="800" b="1" dirty="0" err="1"/>
              <a:t>Indikace</a:t>
            </a:r>
            <a:r>
              <a:rPr lang="en-US" sz="800" dirty="0"/>
              <a:t>: </a:t>
            </a:r>
            <a:r>
              <a:rPr lang="en-US" sz="800" i="1" u="sng" dirty="0" err="1"/>
              <a:t>Uroteliální</a:t>
            </a:r>
            <a:r>
              <a:rPr lang="en-US" sz="800" i="1" u="sng" dirty="0"/>
              <a:t> </a:t>
            </a:r>
            <a:r>
              <a:rPr lang="en-US" sz="800" i="1" u="sng" dirty="0" err="1"/>
              <a:t>karcinom</a:t>
            </a:r>
            <a:r>
              <a:rPr lang="en-US" sz="800" dirty="0"/>
              <a:t>: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</a:t>
            </a:r>
            <a:r>
              <a:rPr lang="en-US" sz="800" dirty="0" err="1"/>
              <a:t>jako</a:t>
            </a:r>
            <a:r>
              <a:rPr lang="en-US" sz="800" dirty="0"/>
              <a:t> </a:t>
            </a:r>
            <a:r>
              <a:rPr lang="en-US" sz="800" dirty="0" err="1"/>
              <a:t>monoterapie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lokálně</a:t>
            </a:r>
            <a:r>
              <a:rPr lang="en-US" sz="800" dirty="0"/>
              <a:t> </a:t>
            </a:r>
            <a:r>
              <a:rPr lang="en-US" sz="800" dirty="0" err="1"/>
              <a:t>pokročilým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metastazujícím</a:t>
            </a:r>
            <a:r>
              <a:rPr lang="en-US" sz="800" dirty="0"/>
              <a:t> </a:t>
            </a:r>
            <a:r>
              <a:rPr lang="en-US" sz="800" dirty="0" err="1"/>
              <a:t>uroteliálním</a:t>
            </a:r>
            <a:r>
              <a:rPr lang="en-US" sz="800" dirty="0"/>
              <a:t> </a:t>
            </a:r>
            <a:r>
              <a:rPr lang="en-US" sz="800" dirty="0" err="1"/>
              <a:t>karcinomem</a:t>
            </a:r>
            <a:r>
              <a:rPr lang="en-US" sz="800" dirty="0"/>
              <a:t> (UK)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předchozí</a:t>
            </a:r>
            <a:r>
              <a:rPr lang="en-US" sz="800" dirty="0"/>
              <a:t> </a:t>
            </a:r>
            <a:r>
              <a:rPr lang="en-US" sz="800" dirty="0" err="1"/>
              <a:t>chemoterapii</a:t>
            </a:r>
            <a:r>
              <a:rPr lang="en-US" sz="800" dirty="0"/>
              <a:t> </a:t>
            </a:r>
            <a:r>
              <a:rPr lang="en-US" sz="800" dirty="0" err="1"/>
              <a:t>obsahující</a:t>
            </a:r>
            <a:r>
              <a:rPr lang="en-US" sz="800" dirty="0"/>
              <a:t> </a:t>
            </a:r>
            <a:r>
              <a:rPr lang="en-US" sz="800" dirty="0" err="1"/>
              <a:t>platinu</a:t>
            </a:r>
            <a:r>
              <a:rPr lang="en-US" sz="800" dirty="0"/>
              <a:t>, </a:t>
            </a:r>
            <a:r>
              <a:rPr lang="en-US" sz="800" dirty="0" err="1"/>
              <a:t>nebo</a:t>
            </a:r>
            <a:r>
              <a:rPr lang="en-US" sz="800" dirty="0"/>
              <a:t>  u </a:t>
            </a:r>
            <a:r>
              <a:rPr lang="en-US" sz="800" dirty="0" err="1"/>
              <a:t>pacientů</a:t>
            </a:r>
            <a:r>
              <a:rPr lang="en-US" sz="800" dirty="0"/>
              <a:t>,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jsou</a:t>
            </a:r>
            <a:r>
              <a:rPr lang="en-US" sz="800" dirty="0"/>
              <a:t> </a:t>
            </a:r>
            <a:r>
              <a:rPr lang="en-US" sz="800" dirty="0" err="1"/>
              <a:t>považováni</a:t>
            </a:r>
            <a:r>
              <a:rPr lang="en-US" sz="800" dirty="0"/>
              <a:t> </a:t>
            </a:r>
            <a:r>
              <a:rPr lang="en-US" sz="800" dirty="0" err="1"/>
              <a:t>za</a:t>
            </a:r>
            <a:r>
              <a:rPr lang="en-US" sz="800" dirty="0"/>
              <a:t> </a:t>
            </a:r>
            <a:r>
              <a:rPr lang="en-US" sz="800" dirty="0" err="1"/>
              <a:t>nezpůsobilé</a:t>
            </a:r>
            <a:r>
              <a:rPr lang="en-US" sz="800" dirty="0"/>
              <a:t> k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cisplatinou</a:t>
            </a:r>
            <a:r>
              <a:rPr lang="en-US" sz="800" dirty="0"/>
              <a:t> a </a:t>
            </a:r>
            <a:r>
              <a:rPr lang="en-US" sz="800" dirty="0" err="1"/>
              <a:t>jejichž</a:t>
            </a:r>
            <a:r>
              <a:rPr lang="en-US" sz="800" dirty="0"/>
              <a:t> </a:t>
            </a:r>
            <a:r>
              <a:rPr lang="en-US" sz="800" dirty="0" err="1"/>
              <a:t>nádory</a:t>
            </a:r>
            <a:r>
              <a:rPr lang="en-US" sz="800" dirty="0"/>
              <a:t> </a:t>
            </a:r>
            <a:r>
              <a:rPr lang="en-US" sz="800" dirty="0" err="1"/>
              <a:t>mají</a:t>
            </a:r>
            <a:r>
              <a:rPr lang="en-US" sz="800" dirty="0"/>
              <a:t> </a:t>
            </a:r>
            <a:r>
              <a:rPr lang="en-US" sz="800" dirty="0" err="1"/>
              <a:t>expresi</a:t>
            </a:r>
            <a:r>
              <a:rPr lang="en-US" sz="800" dirty="0"/>
              <a:t> PD-L1 ≥ 5 %. *</a:t>
            </a:r>
            <a:r>
              <a:rPr lang="en-US" sz="800" i="1" u="sng" dirty="0" err="1"/>
              <a:t>Časné</a:t>
            </a:r>
            <a:r>
              <a:rPr lang="en-US" sz="800" i="1" u="sng" dirty="0"/>
              <a:t> stadium </a:t>
            </a:r>
            <a:r>
              <a:rPr lang="en-US" sz="800" i="1" u="sng" dirty="0" err="1"/>
              <a:t>nemalobuněčného</a:t>
            </a:r>
            <a:r>
              <a:rPr lang="en-US" sz="800" i="1" u="sng" dirty="0"/>
              <a:t> </a:t>
            </a:r>
            <a:r>
              <a:rPr lang="en-US" sz="800" i="1" u="sng" dirty="0" err="1"/>
              <a:t>karcinomu</a:t>
            </a:r>
            <a:r>
              <a:rPr lang="en-US" sz="800" i="1" u="sng" dirty="0"/>
              <a:t> </a:t>
            </a:r>
            <a:r>
              <a:rPr lang="en-US" sz="800" i="1" u="sng" dirty="0" err="1"/>
              <a:t>plic</a:t>
            </a:r>
            <a:r>
              <a:rPr lang="en-US" sz="800" i="1" u="sng" dirty="0"/>
              <a:t> (NSCLC):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v </a:t>
            </a:r>
            <a:r>
              <a:rPr lang="en-US" sz="800" dirty="0" err="1"/>
              <a:t>monoterapii</a:t>
            </a:r>
            <a:r>
              <a:rPr lang="en-US" sz="800" dirty="0"/>
              <a:t> je </a:t>
            </a:r>
            <a:r>
              <a:rPr lang="en-US" sz="800" dirty="0" err="1"/>
              <a:t>indikován</a:t>
            </a:r>
            <a:r>
              <a:rPr lang="en-US" sz="800" dirty="0"/>
              <a:t> k </a:t>
            </a:r>
            <a:r>
              <a:rPr lang="en-US" sz="800" dirty="0" err="1"/>
              <a:t>adjuvantní</a:t>
            </a:r>
            <a:r>
              <a:rPr lang="en-US" sz="800" dirty="0"/>
              <a:t>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NSCLC s </a:t>
            </a:r>
            <a:r>
              <a:rPr lang="en-US" sz="800" dirty="0" err="1"/>
              <a:t>vysokým</a:t>
            </a:r>
            <a:r>
              <a:rPr lang="en-US" sz="800" dirty="0"/>
              <a:t> </a:t>
            </a:r>
            <a:r>
              <a:rPr lang="en-US" sz="800" dirty="0" err="1"/>
              <a:t>rizikem</a:t>
            </a:r>
            <a:r>
              <a:rPr lang="en-US" sz="800" dirty="0"/>
              <a:t> </a:t>
            </a:r>
            <a:r>
              <a:rPr lang="en-US" sz="800" dirty="0" err="1"/>
              <a:t>rekurence</a:t>
            </a:r>
            <a:r>
              <a:rPr lang="en-US" sz="800" dirty="0"/>
              <a:t> </a:t>
            </a:r>
            <a:r>
              <a:rPr lang="en-US" sz="800" dirty="0" err="1"/>
              <a:t>onemocnění</a:t>
            </a:r>
            <a:r>
              <a:rPr lang="en-US" sz="800" dirty="0"/>
              <a:t>,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mají</a:t>
            </a:r>
            <a:r>
              <a:rPr lang="en-US" sz="800" dirty="0"/>
              <a:t> </a:t>
            </a:r>
            <a:r>
              <a:rPr lang="en-US" sz="800" dirty="0" err="1"/>
              <a:t>nádory</a:t>
            </a:r>
            <a:r>
              <a:rPr lang="en-US" sz="800" dirty="0"/>
              <a:t> s </a:t>
            </a:r>
            <a:r>
              <a:rPr lang="en-US" sz="800" dirty="0" err="1"/>
              <a:t>expresí</a:t>
            </a:r>
            <a:r>
              <a:rPr lang="en-US" sz="800" dirty="0"/>
              <a:t> PD-L1 </a:t>
            </a:r>
            <a:r>
              <a:rPr lang="en-US" sz="800" dirty="0" err="1"/>
              <a:t>na</a:t>
            </a:r>
            <a:r>
              <a:rPr lang="en-US" sz="800" dirty="0"/>
              <a:t> ≥ 50 % </a:t>
            </a:r>
            <a:r>
              <a:rPr lang="en-US" sz="800" dirty="0" err="1"/>
              <a:t>nádorových</a:t>
            </a:r>
            <a:r>
              <a:rPr lang="en-US" sz="800" dirty="0"/>
              <a:t> </a:t>
            </a:r>
            <a:r>
              <a:rPr lang="en-US" sz="800" dirty="0" err="1"/>
              <a:t>buněk</a:t>
            </a:r>
            <a:r>
              <a:rPr lang="en-US" sz="800" dirty="0"/>
              <a:t> (TC)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úplné</a:t>
            </a:r>
            <a:r>
              <a:rPr lang="en-US" sz="800" dirty="0"/>
              <a:t> </a:t>
            </a:r>
            <a:r>
              <a:rPr lang="en-US" sz="800" dirty="0" err="1"/>
              <a:t>resekci</a:t>
            </a:r>
            <a:r>
              <a:rPr lang="en-US" sz="800" dirty="0"/>
              <a:t> a </a:t>
            </a:r>
            <a:r>
              <a:rPr lang="en-US" sz="800" dirty="0" err="1"/>
              <a:t>chemoterapii</a:t>
            </a:r>
            <a:r>
              <a:rPr lang="en-US" sz="800" dirty="0"/>
              <a:t> </a:t>
            </a:r>
            <a:r>
              <a:rPr lang="en-US" sz="800" dirty="0" err="1"/>
              <a:t>na</a:t>
            </a:r>
            <a:r>
              <a:rPr lang="en-US" sz="800" dirty="0"/>
              <a:t> </a:t>
            </a:r>
            <a:r>
              <a:rPr lang="en-US" sz="800" dirty="0" err="1"/>
              <a:t>bázi</a:t>
            </a:r>
            <a:r>
              <a:rPr lang="en-US" sz="800" dirty="0"/>
              <a:t> </a:t>
            </a:r>
            <a:r>
              <a:rPr lang="en-US" sz="800" dirty="0" err="1"/>
              <a:t>platiny</a:t>
            </a:r>
            <a:r>
              <a:rPr lang="en-US" sz="800" dirty="0"/>
              <a:t> a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nemají</a:t>
            </a:r>
            <a:r>
              <a:rPr lang="en-US" sz="800" dirty="0"/>
              <a:t> NSCLC s </a:t>
            </a:r>
            <a:r>
              <a:rPr lang="en-US" sz="800" dirty="0" err="1"/>
              <a:t>aktivačními</a:t>
            </a:r>
            <a:r>
              <a:rPr lang="en-US" sz="800" dirty="0"/>
              <a:t> </a:t>
            </a:r>
            <a:r>
              <a:rPr lang="en-US" sz="800" dirty="0" err="1"/>
              <a:t>mutacemi</a:t>
            </a:r>
            <a:r>
              <a:rPr lang="en-US" sz="800" dirty="0"/>
              <a:t> EGFR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přestavbami</a:t>
            </a:r>
            <a:r>
              <a:rPr lang="en-US" sz="800" dirty="0"/>
              <a:t> ALK. </a:t>
            </a:r>
            <a:r>
              <a:rPr lang="en-US" sz="800" i="1" u="sng" dirty="0" err="1"/>
              <a:t>Metastazující</a:t>
            </a:r>
            <a:r>
              <a:rPr lang="en-US" sz="800" i="1" u="sng" dirty="0"/>
              <a:t> NSCLC</a:t>
            </a:r>
            <a:r>
              <a:rPr lang="en-US" sz="800" u="sng" dirty="0"/>
              <a:t>:</a:t>
            </a:r>
            <a:r>
              <a:rPr lang="en-US" sz="800" dirty="0"/>
              <a:t> 1)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</a:t>
            </a:r>
            <a:r>
              <a:rPr lang="en-US" sz="800" dirty="0" err="1"/>
              <a:t>jako</a:t>
            </a:r>
            <a:r>
              <a:rPr lang="en-US" sz="800" dirty="0"/>
              <a:t> </a:t>
            </a:r>
            <a:r>
              <a:rPr lang="en-US" sz="800" dirty="0" err="1"/>
              <a:t>monoterapie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lokálně</a:t>
            </a:r>
            <a:r>
              <a:rPr lang="en-US" sz="800" dirty="0"/>
              <a:t> </a:t>
            </a:r>
            <a:r>
              <a:rPr lang="en-US" sz="800" dirty="0" err="1"/>
              <a:t>pokročilým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metastazujícím</a:t>
            </a:r>
            <a:r>
              <a:rPr lang="en-US" sz="800" dirty="0"/>
              <a:t> NSCLC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předchozí</a:t>
            </a:r>
            <a:r>
              <a:rPr lang="en-US" sz="800" dirty="0"/>
              <a:t> </a:t>
            </a:r>
            <a:r>
              <a:rPr lang="en-US" sz="800" dirty="0" err="1"/>
              <a:t>chemoterapii</a:t>
            </a:r>
            <a:r>
              <a:rPr lang="en-US" sz="800" dirty="0"/>
              <a:t>. </a:t>
            </a:r>
            <a:r>
              <a:rPr lang="en-US" sz="800" dirty="0" err="1"/>
              <a:t>Pacientům</a:t>
            </a:r>
            <a:r>
              <a:rPr lang="en-US" sz="800" dirty="0"/>
              <a:t> s NSCLC s </a:t>
            </a:r>
            <a:r>
              <a:rPr lang="en-US" sz="800" dirty="0" err="1"/>
              <a:t>aktivačními</a:t>
            </a:r>
            <a:r>
              <a:rPr lang="en-US" sz="800" dirty="0"/>
              <a:t> </a:t>
            </a:r>
            <a:r>
              <a:rPr lang="en-US" sz="800" dirty="0" err="1"/>
              <a:t>mutacemi</a:t>
            </a:r>
            <a:r>
              <a:rPr lang="en-US" sz="800" dirty="0"/>
              <a:t> EGFR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přestavbami</a:t>
            </a:r>
            <a:r>
              <a:rPr lang="en-US" sz="800" dirty="0"/>
              <a:t> ALK </a:t>
            </a:r>
            <a:r>
              <a:rPr lang="en-US" sz="800" dirty="0" err="1"/>
              <a:t>má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také</a:t>
            </a:r>
            <a:r>
              <a:rPr lang="en-US" sz="800" dirty="0"/>
              <a:t> </a:t>
            </a:r>
            <a:r>
              <a:rPr lang="en-US" sz="800" dirty="0" err="1"/>
              <a:t>podávána</a:t>
            </a:r>
            <a:r>
              <a:rPr lang="en-US" sz="800" dirty="0"/>
              <a:t> </a:t>
            </a:r>
            <a:r>
              <a:rPr lang="en-US" sz="800" dirty="0" err="1"/>
              <a:t>cílená</a:t>
            </a:r>
            <a:r>
              <a:rPr lang="en-US" sz="800" dirty="0"/>
              <a:t> </a:t>
            </a:r>
            <a:r>
              <a:rPr lang="en-US" sz="800" dirty="0" err="1"/>
              <a:t>léčba</a:t>
            </a:r>
            <a:r>
              <a:rPr lang="en-US" sz="800" dirty="0"/>
              <a:t> </a:t>
            </a:r>
            <a:r>
              <a:rPr lang="en-US" sz="800" dirty="0" err="1"/>
              <a:t>před</a:t>
            </a:r>
            <a:r>
              <a:rPr lang="en-US" sz="800" dirty="0"/>
              <a:t> </a:t>
            </a:r>
            <a:r>
              <a:rPr lang="en-US" sz="800" dirty="0" err="1"/>
              <a:t>podáním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. 2)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v </a:t>
            </a:r>
            <a:r>
              <a:rPr lang="en-US" sz="800" dirty="0" err="1"/>
              <a:t>kombinaci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, </a:t>
            </a:r>
            <a:r>
              <a:rPr lang="en-US" sz="800" dirty="0" err="1"/>
              <a:t>paklitaxelem</a:t>
            </a:r>
            <a:r>
              <a:rPr lang="en-US" sz="800" dirty="0"/>
              <a:t> a </a:t>
            </a:r>
            <a:r>
              <a:rPr lang="en-US" sz="800" dirty="0" err="1"/>
              <a:t>karboplatinou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 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linii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 </a:t>
            </a:r>
            <a:r>
              <a:rPr lang="en-US" sz="800" dirty="0" err="1"/>
              <a:t>metastazujícím</a:t>
            </a:r>
            <a:r>
              <a:rPr lang="en-US" sz="800" dirty="0"/>
              <a:t> </a:t>
            </a:r>
            <a:r>
              <a:rPr lang="en-US" sz="800" dirty="0" err="1"/>
              <a:t>neskvamózním</a:t>
            </a:r>
            <a:r>
              <a:rPr lang="en-US" sz="800" dirty="0"/>
              <a:t> NSCLC. U </a:t>
            </a:r>
            <a:r>
              <a:rPr lang="en-US" sz="800" dirty="0" err="1"/>
              <a:t>pacientů</a:t>
            </a:r>
            <a:r>
              <a:rPr lang="en-US" sz="800" dirty="0"/>
              <a:t> s </a:t>
            </a:r>
            <a:r>
              <a:rPr lang="en-US" sz="800" dirty="0" err="1"/>
              <a:t>aktivačními</a:t>
            </a:r>
            <a:r>
              <a:rPr lang="en-US" sz="800" dirty="0"/>
              <a:t> </a:t>
            </a:r>
            <a:r>
              <a:rPr lang="en-US" sz="800" dirty="0" err="1"/>
              <a:t>mutacemi</a:t>
            </a:r>
            <a:r>
              <a:rPr lang="en-US" sz="800" dirty="0"/>
              <a:t> EGFR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přestavbami</a:t>
            </a:r>
            <a:r>
              <a:rPr lang="en-US" sz="800" dirty="0"/>
              <a:t> ALK je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v </a:t>
            </a:r>
            <a:r>
              <a:rPr lang="en-US" sz="800" dirty="0" err="1"/>
              <a:t>kombinaci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, </a:t>
            </a:r>
            <a:r>
              <a:rPr lang="en-US" sz="800" dirty="0" err="1"/>
              <a:t>paklitaxelem</a:t>
            </a:r>
            <a:r>
              <a:rPr lang="en-US" sz="800" dirty="0"/>
              <a:t> a </a:t>
            </a:r>
            <a:r>
              <a:rPr lang="en-US" sz="800" dirty="0" err="1"/>
              <a:t>karboplatinou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</a:t>
            </a:r>
            <a:r>
              <a:rPr lang="en-US" sz="800" dirty="0" err="1"/>
              <a:t>až</a:t>
            </a:r>
            <a:r>
              <a:rPr lang="en-US" sz="800" dirty="0"/>
              <a:t>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selhání</a:t>
            </a:r>
            <a:r>
              <a:rPr lang="en-US" sz="800" dirty="0"/>
              <a:t> </a:t>
            </a:r>
            <a:r>
              <a:rPr lang="en-US" sz="800" dirty="0" err="1"/>
              <a:t>vhodných</a:t>
            </a:r>
            <a:r>
              <a:rPr lang="en-US" sz="800" dirty="0"/>
              <a:t> </a:t>
            </a:r>
            <a:r>
              <a:rPr lang="en-US" sz="800" dirty="0" err="1"/>
              <a:t>možností</a:t>
            </a:r>
            <a:r>
              <a:rPr lang="en-US" sz="800" dirty="0"/>
              <a:t> </a:t>
            </a:r>
            <a:r>
              <a:rPr lang="en-US" sz="800" dirty="0" err="1"/>
              <a:t>cílené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i="1" dirty="0"/>
              <a:t>.</a:t>
            </a:r>
            <a:r>
              <a:rPr lang="en-US" sz="800" dirty="0"/>
              <a:t> 3)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v </a:t>
            </a:r>
            <a:r>
              <a:rPr lang="en-US" sz="800" dirty="0" err="1"/>
              <a:t>kombinaci</a:t>
            </a:r>
            <a:r>
              <a:rPr lang="en-US" sz="800" dirty="0"/>
              <a:t> s nab-</a:t>
            </a:r>
            <a:r>
              <a:rPr lang="en-US" sz="800" dirty="0" err="1"/>
              <a:t>paklitaxelem</a:t>
            </a:r>
            <a:r>
              <a:rPr lang="en-US" sz="800" dirty="0"/>
              <a:t> a </a:t>
            </a:r>
            <a:r>
              <a:rPr lang="en-US" sz="800" dirty="0" err="1"/>
              <a:t>karboplatinou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 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linii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metastazujícím</a:t>
            </a:r>
            <a:r>
              <a:rPr lang="en-US" sz="800" dirty="0"/>
              <a:t> </a:t>
            </a:r>
            <a:r>
              <a:rPr lang="en-US" sz="800" dirty="0" err="1"/>
              <a:t>neskvamózním</a:t>
            </a:r>
            <a:r>
              <a:rPr lang="en-US" sz="800" dirty="0"/>
              <a:t> NSCLC bez </a:t>
            </a:r>
            <a:r>
              <a:rPr lang="en-US" sz="800" dirty="0" err="1"/>
              <a:t>aktivačních</a:t>
            </a:r>
            <a:r>
              <a:rPr lang="en-US" sz="800" dirty="0"/>
              <a:t> </a:t>
            </a:r>
            <a:r>
              <a:rPr lang="en-US" sz="800" dirty="0" err="1"/>
              <a:t>mutací</a:t>
            </a:r>
            <a:r>
              <a:rPr lang="en-US" sz="800" dirty="0"/>
              <a:t> EGFR </a:t>
            </a:r>
            <a:r>
              <a:rPr lang="en-US" sz="800" dirty="0" err="1"/>
              <a:t>nebo</a:t>
            </a:r>
            <a:r>
              <a:rPr lang="en-US" sz="800" dirty="0"/>
              <a:t> bez </a:t>
            </a:r>
            <a:r>
              <a:rPr lang="en-US" sz="800" dirty="0" err="1"/>
              <a:t>přestavby</a:t>
            </a:r>
            <a:r>
              <a:rPr lang="en-US" sz="800" dirty="0"/>
              <a:t> ALK. 4)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</a:t>
            </a:r>
            <a:r>
              <a:rPr lang="en-US" sz="800" dirty="0" err="1"/>
              <a:t>jako</a:t>
            </a:r>
            <a:r>
              <a:rPr lang="en-US" sz="800" dirty="0"/>
              <a:t> </a:t>
            </a:r>
            <a:r>
              <a:rPr lang="en-US" sz="800" dirty="0" err="1"/>
              <a:t>monoterapie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 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linii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metastazujícím</a:t>
            </a:r>
            <a:r>
              <a:rPr lang="en-US" sz="800" dirty="0"/>
              <a:t> </a:t>
            </a:r>
            <a:r>
              <a:rPr lang="en-US" sz="800" dirty="0" err="1"/>
              <a:t>nemalobuněčným</a:t>
            </a:r>
            <a:r>
              <a:rPr lang="en-US" sz="800" dirty="0"/>
              <a:t> </a:t>
            </a:r>
            <a:r>
              <a:rPr lang="en-US" sz="800" dirty="0" err="1"/>
              <a:t>karcinomem</a:t>
            </a:r>
            <a:r>
              <a:rPr lang="en-US" sz="800" dirty="0"/>
              <a:t> </a:t>
            </a:r>
            <a:r>
              <a:rPr lang="en-US" sz="800" dirty="0" err="1"/>
              <a:t>plic</a:t>
            </a:r>
            <a:r>
              <a:rPr lang="en-US" sz="800" dirty="0"/>
              <a:t> (NSCLC),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mají</a:t>
            </a:r>
            <a:r>
              <a:rPr lang="en-US" sz="800" dirty="0"/>
              <a:t> </a:t>
            </a:r>
            <a:r>
              <a:rPr lang="en-US" sz="800" dirty="0" err="1"/>
              <a:t>nádory</a:t>
            </a:r>
            <a:r>
              <a:rPr lang="en-US" sz="800" dirty="0"/>
              <a:t> s </a:t>
            </a:r>
            <a:r>
              <a:rPr lang="en-US" sz="800" dirty="0" err="1"/>
              <a:t>expresí</a:t>
            </a:r>
            <a:r>
              <a:rPr lang="en-US" sz="800" dirty="0"/>
              <a:t> PD-L1 </a:t>
            </a:r>
            <a:r>
              <a:rPr lang="en-US" sz="800" dirty="0" err="1"/>
              <a:t>na</a:t>
            </a:r>
            <a:r>
              <a:rPr lang="en-US" sz="800" dirty="0"/>
              <a:t> ≥ 50 % TC </a:t>
            </a:r>
            <a:r>
              <a:rPr lang="en-US" sz="800" dirty="0" err="1"/>
              <a:t>nebo</a:t>
            </a:r>
            <a:r>
              <a:rPr lang="en-US" sz="800" dirty="0"/>
              <a:t> ≥ 10 % </a:t>
            </a:r>
            <a:r>
              <a:rPr lang="en-US" sz="800" dirty="0" err="1"/>
              <a:t>na</a:t>
            </a:r>
            <a:r>
              <a:rPr lang="en-US" sz="800" dirty="0"/>
              <a:t> tumor </a:t>
            </a:r>
            <a:r>
              <a:rPr lang="en-US" sz="800" dirty="0" err="1"/>
              <a:t>infiltrujících</a:t>
            </a:r>
            <a:r>
              <a:rPr lang="en-US" sz="800" dirty="0"/>
              <a:t> </a:t>
            </a:r>
            <a:r>
              <a:rPr lang="en-US" sz="800" dirty="0" err="1"/>
              <a:t>imunitních</a:t>
            </a:r>
            <a:r>
              <a:rPr lang="en-US" sz="800" dirty="0"/>
              <a:t> </a:t>
            </a:r>
            <a:r>
              <a:rPr lang="en-US" sz="800" dirty="0" err="1"/>
              <a:t>buňkách</a:t>
            </a:r>
            <a:r>
              <a:rPr lang="en-US" sz="800" dirty="0"/>
              <a:t> (IC) a 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nemají</a:t>
            </a:r>
            <a:r>
              <a:rPr lang="en-US" sz="800" dirty="0"/>
              <a:t> NSCLC s </a:t>
            </a:r>
            <a:r>
              <a:rPr lang="en-US" sz="800" dirty="0" err="1"/>
              <a:t>mutacemi</a:t>
            </a:r>
            <a:r>
              <a:rPr lang="en-US" sz="800" dirty="0"/>
              <a:t> EGFR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přestavbami</a:t>
            </a:r>
            <a:r>
              <a:rPr lang="en-US" sz="800" dirty="0"/>
              <a:t> ALK. </a:t>
            </a:r>
            <a:r>
              <a:rPr lang="en-US" sz="800" i="1" u="sng" dirty="0" err="1"/>
              <a:t>Malobuněčný</a:t>
            </a:r>
            <a:r>
              <a:rPr lang="en-US" sz="800" i="1" u="sng" dirty="0"/>
              <a:t> </a:t>
            </a:r>
            <a:r>
              <a:rPr lang="en-US" sz="800" i="1" u="sng" dirty="0" err="1"/>
              <a:t>karcinom</a:t>
            </a:r>
            <a:r>
              <a:rPr lang="en-US" sz="800" i="1" u="sng" dirty="0"/>
              <a:t> </a:t>
            </a:r>
            <a:r>
              <a:rPr lang="en-US" sz="800" i="1" u="sng" dirty="0" err="1"/>
              <a:t>plic</a:t>
            </a:r>
            <a:r>
              <a:rPr lang="en-US" sz="800" i="1" u="sng" dirty="0"/>
              <a:t>:</a:t>
            </a:r>
            <a:r>
              <a:rPr lang="en-US" sz="800" u="sng" dirty="0"/>
              <a:t>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v </a:t>
            </a:r>
            <a:r>
              <a:rPr lang="en-US" sz="800" dirty="0" err="1"/>
              <a:t>kombinaci</a:t>
            </a:r>
            <a:r>
              <a:rPr lang="en-US" sz="800" dirty="0"/>
              <a:t> s </a:t>
            </a:r>
            <a:r>
              <a:rPr lang="en-US" sz="800" dirty="0" err="1"/>
              <a:t>karboplatinou</a:t>
            </a:r>
            <a:r>
              <a:rPr lang="en-US" sz="800" dirty="0"/>
              <a:t> a </a:t>
            </a:r>
            <a:r>
              <a:rPr lang="en-US" sz="800" dirty="0" err="1"/>
              <a:t>etoposidem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 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linii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extenzivním</a:t>
            </a:r>
            <a:r>
              <a:rPr lang="en-US" sz="800" dirty="0"/>
              <a:t> </a:t>
            </a:r>
            <a:r>
              <a:rPr lang="en-US" sz="800" dirty="0" err="1"/>
              <a:t>stádiem</a:t>
            </a:r>
            <a:r>
              <a:rPr lang="en-US" sz="800" dirty="0"/>
              <a:t> </a:t>
            </a:r>
            <a:r>
              <a:rPr lang="en-US" sz="800" dirty="0" err="1"/>
              <a:t>malobuněčného</a:t>
            </a:r>
            <a:r>
              <a:rPr lang="en-US" sz="800" dirty="0"/>
              <a:t> </a:t>
            </a:r>
            <a:r>
              <a:rPr lang="en-US" sz="800" dirty="0" err="1"/>
              <a:t>karcinomu</a:t>
            </a:r>
            <a:r>
              <a:rPr lang="en-US" sz="800" dirty="0"/>
              <a:t> </a:t>
            </a:r>
            <a:r>
              <a:rPr lang="en-US" sz="800" dirty="0" err="1"/>
              <a:t>plic</a:t>
            </a:r>
            <a:r>
              <a:rPr lang="en-US" sz="800" dirty="0"/>
              <a:t>. </a:t>
            </a:r>
            <a:r>
              <a:rPr lang="en-US" sz="800" i="1" u="sng" dirty="0"/>
              <a:t>Triple </a:t>
            </a:r>
            <a:r>
              <a:rPr lang="en-US" sz="800" i="1" u="sng" dirty="0" err="1"/>
              <a:t>negativní</a:t>
            </a:r>
            <a:r>
              <a:rPr lang="en-US" sz="800" i="1" u="sng" dirty="0"/>
              <a:t> </a:t>
            </a:r>
            <a:r>
              <a:rPr lang="en-US" sz="800" i="1" u="sng" dirty="0" err="1"/>
              <a:t>karcinom</a:t>
            </a:r>
            <a:r>
              <a:rPr lang="en-US" sz="800" i="1" u="sng" dirty="0"/>
              <a:t> </a:t>
            </a:r>
            <a:r>
              <a:rPr lang="en-US" sz="800" i="1" u="sng" dirty="0" err="1"/>
              <a:t>prsu</a:t>
            </a:r>
            <a:r>
              <a:rPr lang="en-US" sz="800" i="1" u="sng" dirty="0"/>
              <a:t>:</a:t>
            </a:r>
            <a:r>
              <a:rPr lang="en-US" sz="800" u="sng" dirty="0"/>
              <a:t>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v </a:t>
            </a:r>
            <a:r>
              <a:rPr lang="en-US" sz="800" dirty="0" err="1"/>
              <a:t>kombinaci</a:t>
            </a:r>
            <a:r>
              <a:rPr lang="en-US" sz="800" dirty="0"/>
              <a:t> s nab-</a:t>
            </a:r>
            <a:r>
              <a:rPr lang="en-US" sz="800" dirty="0" err="1"/>
              <a:t>paklitaxelem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neresekovatelným</a:t>
            </a:r>
            <a:r>
              <a:rPr lang="en-US" sz="800" dirty="0"/>
              <a:t> </a:t>
            </a:r>
            <a:r>
              <a:rPr lang="en-US" sz="800" dirty="0" err="1"/>
              <a:t>lokálně</a:t>
            </a:r>
            <a:r>
              <a:rPr lang="en-US" sz="800" dirty="0"/>
              <a:t> </a:t>
            </a:r>
            <a:r>
              <a:rPr lang="en-US" sz="800" dirty="0" err="1"/>
              <a:t>pokročilým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metastazujícím</a:t>
            </a:r>
            <a:r>
              <a:rPr lang="en-US" sz="800" dirty="0"/>
              <a:t> triple </a:t>
            </a:r>
            <a:r>
              <a:rPr lang="en-US" sz="800" dirty="0" err="1"/>
              <a:t>negativním</a:t>
            </a:r>
            <a:r>
              <a:rPr lang="en-US" sz="800" dirty="0"/>
              <a:t> </a:t>
            </a:r>
            <a:r>
              <a:rPr lang="en-US" sz="800" dirty="0" err="1"/>
              <a:t>karcinomem</a:t>
            </a:r>
            <a:r>
              <a:rPr lang="en-US" sz="800" dirty="0"/>
              <a:t> </a:t>
            </a:r>
            <a:r>
              <a:rPr lang="en-US" sz="800" dirty="0" err="1"/>
              <a:t>prsu</a:t>
            </a:r>
            <a:r>
              <a:rPr lang="en-US" sz="800" dirty="0"/>
              <a:t> (TNBC), </a:t>
            </a:r>
            <a:r>
              <a:rPr lang="en-US" sz="800" dirty="0" err="1"/>
              <a:t>jejichž</a:t>
            </a:r>
            <a:r>
              <a:rPr lang="en-US" sz="800" dirty="0"/>
              <a:t> </a:t>
            </a:r>
            <a:r>
              <a:rPr lang="en-US" sz="800" dirty="0" err="1"/>
              <a:t>nádory</a:t>
            </a:r>
            <a:r>
              <a:rPr lang="en-US" sz="800" dirty="0"/>
              <a:t> </a:t>
            </a:r>
            <a:r>
              <a:rPr lang="en-US" sz="800" dirty="0" err="1"/>
              <a:t>mají</a:t>
            </a:r>
            <a:r>
              <a:rPr lang="en-US" sz="800" dirty="0"/>
              <a:t> </a:t>
            </a:r>
            <a:r>
              <a:rPr lang="en-US" sz="800" dirty="0" err="1"/>
              <a:t>expresi</a:t>
            </a:r>
            <a:r>
              <a:rPr lang="en-US" sz="800" dirty="0"/>
              <a:t> PD-L1 ≥ 1 % a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nebyli</a:t>
            </a:r>
            <a:r>
              <a:rPr lang="en-US" sz="800" dirty="0"/>
              <a:t> </a:t>
            </a:r>
            <a:r>
              <a:rPr lang="en-US" sz="800" dirty="0" err="1"/>
              <a:t>léčeni</a:t>
            </a:r>
            <a:r>
              <a:rPr lang="en-US" sz="800" dirty="0"/>
              <a:t> </a:t>
            </a:r>
            <a:r>
              <a:rPr lang="en-US" sz="800" dirty="0" err="1"/>
              <a:t>chemoterapií</a:t>
            </a:r>
            <a:r>
              <a:rPr lang="en-US" sz="800" dirty="0"/>
              <a:t> pro </a:t>
            </a:r>
            <a:r>
              <a:rPr lang="en-US" sz="800" dirty="0" err="1"/>
              <a:t>metastazující</a:t>
            </a:r>
            <a:r>
              <a:rPr lang="en-US" sz="800" dirty="0"/>
              <a:t> </a:t>
            </a:r>
            <a:r>
              <a:rPr lang="en-US" sz="800" dirty="0" err="1"/>
              <a:t>onemocnění</a:t>
            </a:r>
            <a:r>
              <a:rPr lang="en-US" sz="800" dirty="0"/>
              <a:t>. </a:t>
            </a:r>
            <a:r>
              <a:rPr lang="en-US" sz="800" u="sng" dirty="0" err="1"/>
              <a:t>Hepatocelulární</a:t>
            </a:r>
            <a:r>
              <a:rPr lang="en-US" sz="800" u="sng" dirty="0"/>
              <a:t> </a:t>
            </a:r>
            <a:r>
              <a:rPr lang="en-US" sz="800" u="sng" dirty="0" err="1"/>
              <a:t>karcinom</a:t>
            </a:r>
            <a:r>
              <a:rPr lang="en-US" sz="800" u="sng" dirty="0"/>
              <a:t>: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v </a:t>
            </a:r>
            <a:r>
              <a:rPr lang="en-US" sz="800" dirty="0" err="1"/>
              <a:t>kombinaci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 </a:t>
            </a:r>
            <a:r>
              <a:rPr lang="en-US" sz="800" dirty="0" err="1"/>
              <a:t>pokročilým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neresekovatelným</a:t>
            </a:r>
            <a:r>
              <a:rPr lang="en-US" sz="800" dirty="0"/>
              <a:t> </a:t>
            </a:r>
            <a:r>
              <a:rPr lang="en-US" sz="800" dirty="0" err="1"/>
              <a:t>hepatocelulárním</a:t>
            </a:r>
            <a:r>
              <a:rPr lang="en-US" sz="800" dirty="0"/>
              <a:t> </a:t>
            </a:r>
            <a:r>
              <a:rPr lang="en-US" sz="800" dirty="0" err="1"/>
              <a:t>karcinomem</a:t>
            </a:r>
            <a:r>
              <a:rPr lang="en-US" sz="800" dirty="0"/>
              <a:t> (HCC),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dosud</a:t>
            </a:r>
            <a:r>
              <a:rPr lang="en-US" sz="800" dirty="0"/>
              <a:t> </a:t>
            </a:r>
            <a:r>
              <a:rPr lang="en-US" sz="800" dirty="0" err="1"/>
              <a:t>neužívali</a:t>
            </a:r>
            <a:r>
              <a:rPr lang="en-US" sz="800" dirty="0"/>
              <a:t> </a:t>
            </a:r>
            <a:r>
              <a:rPr lang="en-US" sz="800" dirty="0" err="1"/>
              <a:t>systémovou</a:t>
            </a:r>
            <a:r>
              <a:rPr lang="en-US" sz="800" dirty="0"/>
              <a:t> </a:t>
            </a:r>
            <a:r>
              <a:rPr lang="en-US" sz="800" dirty="0" err="1"/>
              <a:t>léčbu</a:t>
            </a:r>
            <a:r>
              <a:rPr lang="en-US" sz="800" dirty="0"/>
              <a:t>. </a:t>
            </a:r>
            <a:r>
              <a:rPr lang="en-US" sz="800" b="1" dirty="0" err="1"/>
              <a:t>Dávkování</a:t>
            </a:r>
            <a:r>
              <a:rPr lang="en-US" sz="800" b="1" dirty="0"/>
              <a:t>: </a:t>
            </a:r>
            <a:r>
              <a:rPr lang="en-US" sz="800" dirty="0" err="1"/>
              <a:t>doporučená</a:t>
            </a:r>
            <a:r>
              <a:rPr lang="en-US" sz="800" dirty="0"/>
              <a:t> </a:t>
            </a:r>
            <a:r>
              <a:rPr lang="en-US" sz="800" dirty="0" err="1"/>
              <a:t>dávka</a:t>
            </a:r>
            <a:r>
              <a:rPr lang="en-US" sz="800" dirty="0"/>
              <a:t> </a:t>
            </a:r>
            <a:r>
              <a:rPr lang="en-US" sz="800" dirty="0" err="1"/>
              <a:t>přípravku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</a:t>
            </a:r>
            <a:r>
              <a:rPr lang="en-US" sz="800" dirty="0" err="1"/>
              <a:t>buď</a:t>
            </a:r>
            <a:r>
              <a:rPr lang="en-US" sz="800" dirty="0"/>
              <a:t> 840 mg </a:t>
            </a:r>
            <a:r>
              <a:rPr lang="en-US" sz="800" dirty="0" err="1"/>
              <a:t>podávaná</a:t>
            </a:r>
            <a:r>
              <a:rPr lang="en-US" sz="800" dirty="0"/>
              <a:t> </a:t>
            </a:r>
            <a:r>
              <a:rPr lang="en-US" sz="800" dirty="0" err="1"/>
              <a:t>intravenózně</a:t>
            </a:r>
            <a:r>
              <a:rPr lang="en-US" sz="800" dirty="0"/>
              <a:t> </a:t>
            </a:r>
            <a:r>
              <a:rPr lang="en-US" sz="800" dirty="0" err="1"/>
              <a:t>každé</a:t>
            </a:r>
            <a:r>
              <a:rPr lang="en-US" sz="800" dirty="0"/>
              <a:t> </a:t>
            </a:r>
            <a:r>
              <a:rPr lang="en-US" sz="800" dirty="0" err="1"/>
              <a:t>dva</a:t>
            </a:r>
            <a:r>
              <a:rPr lang="en-US" sz="800" dirty="0"/>
              <a:t> </a:t>
            </a:r>
            <a:r>
              <a:rPr lang="en-US" sz="800" dirty="0" err="1"/>
              <a:t>týdny</a:t>
            </a:r>
            <a:r>
              <a:rPr lang="en-US" sz="800" dirty="0"/>
              <a:t>, </a:t>
            </a:r>
            <a:r>
              <a:rPr lang="en-US" sz="800" dirty="0" err="1"/>
              <a:t>nebo</a:t>
            </a:r>
            <a:r>
              <a:rPr lang="en-US" sz="800" dirty="0"/>
              <a:t> 1 200 mg </a:t>
            </a:r>
            <a:r>
              <a:rPr lang="en-US" sz="800" dirty="0" err="1"/>
              <a:t>podávaná</a:t>
            </a:r>
            <a:r>
              <a:rPr lang="en-US" sz="800" dirty="0"/>
              <a:t> </a:t>
            </a:r>
            <a:r>
              <a:rPr lang="en-US" sz="800" dirty="0" err="1"/>
              <a:t>intravenózně</a:t>
            </a:r>
            <a:r>
              <a:rPr lang="en-US" sz="800" dirty="0"/>
              <a:t> </a:t>
            </a:r>
            <a:r>
              <a:rPr lang="en-US" sz="800" dirty="0" err="1"/>
              <a:t>každé</a:t>
            </a:r>
            <a:r>
              <a:rPr lang="en-US" sz="800" dirty="0"/>
              <a:t> </a:t>
            </a:r>
            <a:r>
              <a:rPr lang="en-US" sz="800" dirty="0" err="1"/>
              <a:t>tři</a:t>
            </a:r>
            <a:r>
              <a:rPr lang="en-US" sz="800" dirty="0"/>
              <a:t> </a:t>
            </a:r>
            <a:r>
              <a:rPr lang="en-US" sz="800" dirty="0" err="1"/>
              <a:t>týdny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1 680 mg </a:t>
            </a:r>
            <a:r>
              <a:rPr lang="en-US" sz="800" dirty="0" err="1"/>
              <a:t>podávaná</a:t>
            </a:r>
            <a:r>
              <a:rPr lang="en-US" sz="800" dirty="0"/>
              <a:t> </a:t>
            </a:r>
            <a:r>
              <a:rPr lang="en-US" sz="800" dirty="0" err="1"/>
              <a:t>intravenózně</a:t>
            </a:r>
            <a:r>
              <a:rPr lang="en-US" sz="800" dirty="0"/>
              <a:t> </a:t>
            </a:r>
            <a:r>
              <a:rPr lang="en-US" sz="800" dirty="0" err="1"/>
              <a:t>každé</a:t>
            </a:r>
            <a:r>
              <a:rPr lang="en-US" sz="800" dirty="0"/>
              <a:t> </a:t>
            </a:r>
            <a:r>
              <a:rPr lang="en-US" sz="800" dirty="0" err="1"/>
              <a:t>čtyři</a:t>
            </a:r>
            <a:r>
              <a:rPr lang="en-US" sz="800" dirty="0"/>
              <a:t> </a:t>
            </a:r>
            <a:r>
              <a:rPr lang="en-US" sz="800" dirty="0" err="1" smtClean="0"/>
              <a:t>týdny</a:t>
            </a:r>
            <a:r>
              <a:rPr lang="cs-CZ" sz="800" dirty="0" smtClean="0"/>
              <a:t>,</a:t>
            </a:r>
            <a:r>
              <a:rPr lang="cs-CZ" sz="800" dirty="0"/>
              <a:t> </a:t>
            </a:r>
            <a:r>
              <a:rPr lang="cs-CZ" sz="800" dirty="0" smtClean="0"/>
              <a:t>doporučené </a:t>
            </a:r>
            <a:r>
              <a:rPr lang="cs-CZ" sz="800" dirty="0"/>
              <a:t>podání </a:t>
            </a:r>
            <a:r>
              <a:rPr lang="cs-CZ" sz="800" dirty="0" err="1"/>
              <a:t>Tecentriq</a:t>
            </a:r>
            <a:r>
              <a:rPr lang="cs-CZ" sz="800" dirty="0"/>
              <a:t> 1875mg injekční roztok je každé 3 týdny</a:t>
            </a:r>
            <a:r>
              <a:rPr lang="cs-CZ" sz="800" i="1" dirty="0"/>
              <a:t>*</a:t>
            </a:r>
            <a:r>
              <a:rPr lang="en-US" sz="800" dirty="0" smtClean="0"/>
              <a:t> </a:t>
            </a:r>
            <a:r>
              <a:rPr lang="en-US" sz="800" dirty="0"/>
              <a:t>(</a:t>
            </a:r>
            <a:r>
              <a:rPr lang="en-US" sz="800" dirty="0" err="1"/>
              <a:t>blíže</a:t>
            </a:r>
            <a:r>
              <a:rPr lang="en-US" sz="800" dirty="0"/>
              <a:t> </a:t>
            </a:r>
            <a:r>
              <a:rPr lang="en-US" sz="800" dirty="0" err="1"/>
              <a:t>viz</a:t>
            </a:r>
            <a:r>
              <a:rPr lang="en-US" sz="800" dirty="0"/>
              <a:t> </a:t>
            </a:r>
            <a:r>
              <a:rPr lang="en-US" sz="800" dirty="0" err="1"/>
              <a:t>příslušný</a:t>
            </a:r>
            <a:r>
              <a:rPr lang="en-US" sz="800" dirty="0"/>
              <a:t> </a:t>
            </a:r>
            <a:r>
              <a:rPr lang="en-US" sz="800" dirty="0" err="1"/>
              <a:t>Souhrn</a:t>
            </a:r>
            <a:r>
              <a:rPr lang="en-US" sz="800" dirty="0"/>
              <a:t> </a:t>
            </a:r>
            <a:r>
              <a:rPr lang="en-US" sz="800" dirty="0" err="1"/>
              <a:t>údajů</a:t>
            </a:r>
            <a:r>
              <a:rPr lang="en-US" sz="800" dirty="0"/>
              <a:t> o </a:t>
            </a:r>
            <a:r>
              <a:rPr lang="en-US" sz="800" dirty="0" err="1"/>
              <a:t>přípravku</a:t>
            </a:r>
            <a:r>
              <a:rPr lang="en-US" sz="800" dirty="0"/>
              <a:t> - SPC). </a:t>
            </a:r>
            <a:r>
              <a:rPr lang="en-US" sz="800" dirty="0" err="1"/>
              <a:t>Při</a:t>
            </a:r>
            <a:r>
              <a:rPr lang="en-US" sz="800" dirty="0"/>
              <a:t> </a:t>
            </a:r>
            <a:r>
              <a:rPr lang="en-US" sz="800" dirty="0" err="1"/>
              <a:t>podávání</a:t>
            </a:r>
            <a:r>
              <a:rPr lang="en-US" sz="800" dirty="0"/>
              <a:t> </a:t>
            </a:r>
            <a:r>
              <a:rPr lang="en-US" sz="800" dirty="0" err="1"/>
              <a:t>přípravku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v </a:t>
            </a:r>
            <a:r>
              <a:rPr lang="en-US" sz="800" dirty="0" err="1"/>
              <a:t>kombinované</a:t>
            </a:r>
            <a:r>
              <a:rPr lang="en-US" sz="800" dirty="0"/>
              <a:t> </a:t>
            </a:r>
            <a:r>
              <a:rPr lang="en-US" sz="800" dirty="0" err="1"/>
              <a:t>terapii</a:t>
            </a:r>
            <a:r>
              <a:rPr lang="en-US" sz="800" dirty="0"/>
              <a:t> </a:t>
            </a:r>
            <a:r>
              <a:rPr lang="en-US" sz="800" dirty="0" err="1"/>
              <a:t>viz</a:t>
            </a:r>
            <a:r>
              <a:rPr lang="en-US" sz="800" dirty="0"/>
              <a:t> </a:t>
            </a:r>
            <a:r>
              <a:rPr lang="en-US" sz="800" dirty="0" err="1"/>
              <a:t>také</a:t>
            </a:r>
            <a:r>
              <a:rPr lang="en-US" sz="800" dirty="0"/>
              <a:t> </a:t>
            </a:r>
            <a:r>
              <a:rPr lang="en-US" sz="800" dirty="0" err="1"/>
              <a:t>úplné</a:t>
            </a:r>
            <a:r>
              <a:rPr lang="en-US" sz="800" dirty="0"/>
              <a:t> </a:t>
            </a:r>
            <a:r>
              <a:rPr lang="en-US" sz="800" dirty="0" err="1"/>
              <a:t>informace</a:t>
            </a:r>
            <a:r>
              <a:rPr lang="en-US" sz="800" dirty="0"/>
              <a:t> pro </a:t>
            </a:r>
            <a:r>
              <a:rPr lang="en-US" sz="800" dirty="0" err="1"/>
              <a:t>předepisování</a:t>
            </a:r>
            <a:r>
              <a:rPr lang="en-US" sz="800" dirty="0"/>
              <a:t> </a:t>
            </a:r>
            <a:r>
              <a:rPr lang="en-US" sz="800" dirty="0" err="1"/>
              <a:t>kombinované</a:t>
            </a:r>
            <a:r>
              <a:rPr lang="en-US" sz="800" dirty="0"/>
              <a:t> </a:t>
            </a:r>
            <a:r>
              <a:rPr lang="en-US" sz="800" dirty="0" err="1"/>
              <a:t>terapie</a:t>
            </a:r>
            <a:r>
              <a:rPr lang="en-US" sz="800" dirty="0"/>
              <a:t>.</a:t>
            </a:r>
            <a:r>
              <a:rPr lang="en-US" sz="800" b="1" dirty="0"/>
              <a:t> </a:t>
            </a:r>
            <a:r>
              <a:rPr lang="en-US" sz="800" dirty="0"/>
              <a:t> </a:t>
            </a:r>
            <a:r>
              <a:rPr lang="en-US" sz="800" b="1" dirty="0" err="1"/>
              <a:t>Způsob</a:t>
            </a:r>
            <a:r>
              <a:rPr lang="en-US" sz="800" b="1" dirty="0"/>
              <a:t> </a:t>
            </a:r>
            <a:r>
              <a:rPr lang="en-US" sz="800" b="1" dirty="0" err="1"/>
              <a:t>podání</a:t>
            </a:r>
            <a:r>
              <a:rPr lang="en-US" sz="800" b="1" dirty="0"/>
              <a:t>:</a:t>
            </a:r>
            <a:r>
              <a:rPr lang="en-US" sz="800" dirty="0"/>
              <a:t>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pro </a:t>
            </a:r>
            <a:r>
              <a:rPr lang="en-US" sz="800" dirty="0" err="1"/>
              <a:t>intravenózní</a:t>
            </a:r>
            <a:r>
              <a:rPr lang="en-US" sz="800" dirty="0"/>
              <a:t> </a:t>
            </a:r>
            <a:r>
              <a:rPr lang="en-US" sz="800" dirty="0" err="1"/>
              <a:t>podání</a:t>
            </a:r>
            <a:r>
              <a:rPr lang="en-US" sz="800" dirty="0"/>
              <a:t>. </a:t>
            </a:r>
            <a:r>
              <a:rPr lang="en-US" sz="800" dirty="0" err="1"/>
              <a:t>Infuze</a:t>
            </a:r>
            <a:r>
              <a:rPr lang="en-US" sz="800" dirty="0"/>
              <a:t> </a:t>
            </a:r>
            <a:r>
              <a:rPr lang="en-US" sz="800" dirty="0" err="1"/>
              <a:t>nesmí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podávány</a:t>
            </a:r>
            <a:r>
              <a:rPr lang="en-US" sz="800" dirty="0"/>
              <a:t> </a:t>
            </a:r>
            <a:r>
              <a:rPr lang="en-US" sz="800" dirty="0" err="1"/>
              <a:t>jako</a:t>
            </a:r>
            <a:r>
              <a:rPr lang="en-US" sz="800" dirty="0"/>
              <a:t> </a:t>
            </a:r>
            <a:r>
              <a:rPr lang="en-US" sz="800" dirty="0" err="1"/>
              <a:t>intravenózní</a:t>
            </a:r>
            <a:r>
              <a:rPr lang="en-US" sz="800" dirty="0"/>
              <a:t> </a:t>
            </a:r>
            <a:r>
              <a:rPr lang="en-US" sz="800" dirty="0" err="1"/>
              <a:t>injekce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bolus. </a:t>
            </a:r>
            <a:r>
              <a:rPr lang="en-US" sz="800" dirty="0" err="1"/>
              <a:t>Úvodní</a:t>
            </a:r>
            <a:r>
              <a:rPr lang="en-US" sz="800" dirty="0"/>
              <a:t> </a:t>
            </a:r>
            <a:r>
              <a:rPr lang="en-US" sz="800" dirty="0" err="1"/>
              <a:t>dávka</a:t>
            </a:r>
            <a:r>
              <a:rPr lang="en-US" sz="800" dirty="0"/>
              <a:t> </a:t>
            </a:r>
            <a:r>
              <a:rPr lang="en-US" sz="800" dirty="0" err="1"/>
              <a:t>musí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podávána</a:t>
            </a:r>
            <a:r>
              <a:rPr lang="en-US" sz="800" dirty="0"/>
              <a:t>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dobu</a:t>
            </a:r>
            <a:r>
              <a:rPr lang="en-US" sz="800" dirty="0"/>
              <a:t> 60 </a:t>
            </a:r>
            <a:r>
              <a:rPr lang="en-US" sz="800" dirty="0" err="1"/>
              <a:t>minut</a:t>
            </a:r>
            <a:r>
              <a:rPr lang="en-US" sz="800" dirty="0"/>
              <a:t>. </a:t>
            </a:r>
            <a:r>
              <a:rPr lang="en-US" sz="800" dirty="0" err="1"/>
              <a:t>Pokud</a:t>
            </a:r>
            <a:r>
              <a:rPr lang="en-US" sz="800" dirty="0"/>
              <a:t> je 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infuze</a:t>
            </a:r>
            <a:r>
              <a:rPr lang="en-US" sz="800" dirty="0"/>
              <a:t> </a:t>
            </a:r>
            <a:r>
              <a:rPr lang="en-US" sz="800" dirty="0" err="1"/>
              <a:t>dobře</a:t>
            </a:r>
            <a:r>
              <a:rPr lang="en-US" sz="800" dirty="0"/>
              <a:t> </a:t>
            </a:r>
            <a:r>
              <a:rPr lang="en-US" sz="800" dirty="0" err="1"/>
              <a:t>snášena</a:t>
            </a:r>
            <a:r>
              <a:rPr lang="en-US" sz="800" dirty="0"/>
              <a:t>, </a:t>
            </a:r>
            <a:r>
              <a:rPr lang="en-US" sz="800" dirty="0" err="1"/>
              <a:t>mohou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následující</a:t>
            </a:r>
            <a:r>
              <a:rPr lang="en-US" sz="800" dirty="0"/>
              <a:t> </a:t>
            </a:r>
            <a:r>
              <a:rPr lang="en-US" sz="800" dirty="0" err="1"/>
              <a:t>infuze</a:t>
            </a:r>
            <a:r>
              <a:rPr lang="en-US" sz="800" dirty="0"/>
              <a:t> </a:t>
            </a:r>
            <a:r>
              <a:rPr lang="en-US" sz="800" dirty="0" err="1"/>
              <a:t>podávány</a:t>
            </a:r>
            <a:r>
              <a:rPr lang="en-US" sz="800" dirty="0"/>
              <a:t>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dobu</a:t>
            </a:r>
            <a:r>
              <a:rPr lang="en-US" sz="800" dirty="0"/>
              <a:t> 30 </a:t>
            </a:r>
            <a:r>
              <a:rPr lang="en-US" sz="800" dirty="0" err="1"/>
              <a:t>minut</a:t>
            </a:r>
            <a:r>
              <a:rPr lang="en-US" sz="800" dirty="0" smtClean="0"/>
              <a:t>.</a:t>
            </a:r>
            <a:r>
              <a:rPr lang="cs-CZ" sz="800" b="1" dirty="0"/>
              <a:t> </a:t>
            </a:r>
            <a:r>
              <a:rPr lang="cs-CZ" sz="800" b="1" dirty="0" err="1"/>
              <a:t>Tecentriq</a:t>
            </a:r>
            <a:r>
              <a:rPr lang="cs-CZ" sz="800" b="1" dirty="0"/>
              <a:t> 1875mg injekční roztok musí být podán výhradně subkutánně</a:t>
            </a:r>
            <a:r>
              <a:rPr lang="cs-CZ" sz="800" dirty="0"/>
              <a:t>, po dobu 7 min, střídavě do P a L stehna</a:t>
            </a:r>
            <a:r>
              <a:rPr lang="cs-CZ" sz="800" i="1" dirty="0"/>
              <a:t>*</a:t>
            </a:r>
            <a:r>
              <a:rPr lang="en-US" sz="800" dirty="0" smtClean="0"/>
              <a:t> </a:t>
            </a:r>
            <a:r>
              <a:rPr lang="en-US" sz="800" dirty="0" err="1"/>
              <a:t>Doporučuje</a:t>
            </a:r>
            <a:r>
              <a:rPr lang="en-US" sz="800" dirty="0"/>
              <a:t> se, aby </a:t>
            </a:r>
            <a:r>
              <a:rPr lang="en-US" sz="800" dirty="0" err="1"/>
              <a:t>pacienti</a:t>
            </a:r>
            <a:r>
              <a:rPr lang="en-US" sz="800" dirty="0"/>
              <a:t> s </a:t>
            </a:r>
            <a:r>
              <a:rPr lang="en-US" sz="800" dirty="0" err="1"/>
              <a:t>neresekovatelným</a:t>
            </a:r>
            <a:r>
              <a:rPr lang="en-US" sz="800" dirty="0"/>
              <a:t>, </a:t>
            </a:r>
            <a:r>
              <a:rPr lang="en-US" sz="800" dirty="0" err="1"/>
              <a:t>pokročilým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metastazujícím</a:t>
            </a:r>
            <a:r>
              <a:rPr lang="en-US" sz="800" dirty="0"/>
              <a:t> </a:t>
            </a:r>
            <a:r>
              <a:rPr lang="en-US" sz="800" dirty="0" err="1"/>
              <a:t>karcinomem</a:t>
            </a:r>
            <a:r>
              <a:rPr lang="en-US" sz="800" dirty="0"/>
              <a:t> </a:t>
            </a:r>
            <a:r>
              <a:rPr lang="en-US" sz="800" dirty="0" err="1"/>
              <a:t>byli</a:t>
            </a:r>
            <a:r>
              <a:rPr lang="en-US" sz="800" dirty="0"/>
              <a:t> </a:t>
            </a:r>
            <a:r>
              <a:rPr lang="en-US" sz="800" dirty="0" err="1"/>
              <a:t>léčeni</a:t>
            </a:r>
            <a:r>
              <a:rPr lang="en-US" sz="800" dirty="0"/>
              <a:t> </a:t>
            </a:r>
            <a:r>
              <a:rPr lang="en-US" sz="800" dirty="0" err="1"/>
              <a:t>přípravkem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, </a:t>
            </a:r>
            <a:r>
              <a:rPr lang="en-US" sz="800" dirty="0" err="1"/>
              <a:t>dokud</a:t>
            </a:r>
            <a:r>
              <a:rPr lang="en-US" sz="800" dirty="0"/>
              <a:t> </a:t>
            </a:r>
            <a:r>
              <a:rPr lang="en-US" sz="800" dirty="0" err="1"/>
              <a:t>nedojde</a:t>
            </a:r>
            <a:r>
              <a:rPr lang="en-US" sz="800" dirty="0"/>
              <a:t> </a:t>
            </a:r>
            <a:r>
              <a:rPr lang="en-US" sz="800" dirty="0" err="1"/>
              <a:t>ke</a:t>
            </a:r>
            <a:r>
              <a:rPr lang="en-US" sz="800" dirty="0"/>
              <a:t> </a:t>
            </a:r>
            <a:r>
              <a:rPr lang="en-US" sz="800" dirty="0" err="1"/>
              <a:t>ztrátě</a:t>
            </a:r>
            <a:r>
              <a:rPr lang="en-US" sz="800" dirty="0"/>
              <a:t> </a:t>
            </a:r>
            <a:r>
              <a:rPr lang="en-US" sz="800" dirty="0" err="1"/>
              <a:t>klinického</a:t>
            </a:r>
            <a:r>
              <a:rPr lang="en-US" sz="800" dirty="0"/>
              <a:t> </a:t>
            </a:r>
            <a:r>
              <a:rPr lang="en-US" sz="800" dirty="0" err="1"/>
              <a:t>přínosu</a:t>
            </a:r>
            <a:r>
              <a:rPr lang="en-US" sz="800" dirty="0"/>
              <a:t>, k </a:t>
            </a:r>
            <a:r>
              <a:rPr lang="en-US" sz="800" dirty="0" err="1"/>
              <a:t>progresi</a:t>
            </a:r>
            <a:r>
              <a:rPr lang="en-US" sz="800" dirty="0"/>
              <a:t> </a:t>
            </a:r>
            <a:r>
              <a:rPr lang="en-US" sz="800" dirty="0" err="1"/>
              <a:t>onemocnění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k </a:t>
            </a:r>
            <a:r>
              <a:rPr lang="en-US" sz="800" dirty="0" err="1"/>
              <a:t>nezvládnutelné</a:t>
            </a:r>
            <a:r>
              <a:rPr lang="en-US" sz="800" dirty="0"/>
              <a:t> </a:t>
            </a:r>
            <a:r>
              <a:rPr lang="en-US" sz="800" dirty="0" err="1"/>
              <a:t>toxicitě</a:t>
            </a:r>
            <a:r>
              <a:rPr lang="en-US" sz="800" dirty="0"/>
              <a:t> (</a:t>
            </a:r>
            <a:r>
              <a:rPr lang="en-US" sz="800" dirty="0" err="1"/>
              <a:t>blíže</a:t>
            </a:r>
            <a:r>
              <a:rPr lang="en-US" sz="800" dirty="0"/>
              <a:t> </a:t>
            </a:r>
            <a:r>
              <a:rPr lang="en-US" sz="800" dirty="0" err="1"/>
              <a:t>viz</a:t>
            </a:r>
            <a:r>
              <a:rPr lang="en-US" sz="800" dirty="0"/>
              <a:t> </a:t>
            </a:r>
            <a:r>
              <a:rPr lang="en-US" sz="800" dirty="0" err="1"/>
              <a:t>příslušný</a:t>
            </a:r>
            <a:r>
              <a:rPr lang="en-US" sz="800" dirty="0"/>
              <a:t> </a:t>
            </a:r>
            <a:r>
              <a:rPr lang="en-US" sz="800" dirty="0" err="1"/>
              <a:t>Souhrn</a:t>
            </a:r>
            <a:r>
              <a:rPr lang="en-US" sz="800" dirty="0"/>
              <a:t> </a:t>
            </a:r>
            <a:r>
              <a:rPr lang="en-US" sz="800" dirty="0" err="1"/>
              <a:t>údajů</a:t>
            </a:r>
            <a:r>
              <a:rPr lang="en-US" sz="800" dirty="0"/>
              <a:t> o </a:t>
            </a:r>
            <a:r>
              <a:rPr lang="en-US" sz="800" dirty="0" err="1"/>
              <a:t>přípravku</a:t>
            </a:r>
            <a:r>
              <a:rPr lang="en-US" sz="800" dirty="0"/>
              <a:t> - SPC). *U </a:t>
            </a:r>
            <a:r>
              <a:rPr lang="en-US" sz="800" dirty="0" err="1"/>
              <a:t>pacientů</a:t>
            </a:r>
            <a:r>
              <a:rPr lang="en-US" sz="800" dirty="0"/>
              <a:t> v </a:t>
            </a:r>
            <a:r>
              <a:rPr lang="en-US" sz="800" dirty="0" err="1"/>
              <a:t>časném</a:t>
            </a:r>
            <a:r>
              <a:rPr lang="en-US" sz="800" dirty="0"/>
              <a:t> </a:t>
            </a:r>
            <a:r>
              <a:rPr lang="en-US" sz="800" dirty="0" err="1"/>
              <a:t>stadiu</a:t>
            </a:r>
            <a:r>
              <a:rPr lang="en-US" sz="800" dirty="0"/>
              <a:t> NSCLC je </a:t>
            </a:r>
            <a:r>
              <a:rPr lang="en-US" sz="800" dirty="0" err="1"/>
              <a:t>doporučena</a:t>
            </a:r>
            <a:r>
              <a:rPr lang="en-US" sz="800" dirty="0"/>
              <a:t> </a:t>
            </a:r>
            <a:r>
              <a:rPr lang="en-US" sz="800" dirty="0" err="1"/>
              <a:t>léčba</a:t>
            </a:r>
            <a:r>
              <a:rPr lang="en-US" sz="800" dirty="0"/>
              <a:t>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dobu</a:t>
            </a:r>
            <a:r>
              <a:rPr lang="en-US" sz="800" dirty="0"/>
              <a:t> 1 </a:t>
            </a:r>
            <a:r>
              <a:rPr lang="en-US" sz="800" dirty="0" err="1"/>
              <a:t>roku</a:t>
            </a:r>
            <a:r>
              <a:rPr lang="en-US" sz="800" dirty="0"/>
              <a:t> do </a:t>
            </a:r>
            <a:r>
              <a:rPr lang="en-US" sz="800" dirty="0" err="1"/>
              <a:t>rekurence</a:t>
            </a:r>
            <a:r>
              <a:rPr lang="en-US" sz="800" dirty="0"/>
              <a:t> </a:t>
            </a:r>
            <a:r>
              <a:rPr lang="en-US" sz="800" dirty="0" err="1"/>
              <a:t>onemocnění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nepřijatelné</a:t>
            </a:r>
            <a:r>
              <a:rPr lang="en-US" sz="800" dirty="0"/>
              <a:t> toxicity. </a:t>
            </a:r>
            <a:r>
              <a:rPr lang="en-US" sz="800" dirty="0" err="1"/>
              <a:t>Snižování</a:t>
            </a:r>
            <a:r>
              <a:rPr lang="en-US" sz="800" dirty="0"/>
              <a:t> </a:t>
            </a:r>
            <a:r>
              <a:rPr lang="en-US" sz="800" dirty="0" err="1"/>
              <a:t>dávky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se </a:t>
            </a:r>
            <a:r>
              <a:rPr lang="en-US" sz="800" dirty="0" err="1"/>
              <a:t>nedoporučuje</a:t>
            </a:r>
            <a:r>
              <a:rPr lang="en-US" sz="800" dirty="0"/>
              <a:t>. </a:t>
            </a:r>
            <a:r>
              <a:rPr lang="en-US" sz="800" dirty="0" err="1"/>
              <a:t>Doporučení</a:t>
            </a:r>
            <a:r>
              <a:rPr lang="en-US" sz="800" dirty="0"/>
              <a:t> pro </a:t>
            </a:r>
            <a:r>
              <a:rPr lang="en-US" sz="800" dirty="0" err="1"/>
              <a:t>úpravy</a:t>
            </a:r>
            <a:r>
              <a:rPr lang="en-US" sz="800" dirty="0"/>
              <a:t> </a:t>
            </a:r>
            <a:r>
              <a:rPr lang="en-US" sz="800" dirty="0" err="1"/>
              <a:t>dávkování</a:t>
            </a:r>
            <a:r>
              <a:rPr lang="en-US" sz="800" dirty="0"/>
              <a:t> u </a:t>
            </a:r>
            <a:r>
              <a:rPr lang="en-US" sz="800" dirty="0" err="1"/>
              <a:t>konkrétních</a:t>
            </a:r>
            <a:r>
              <a:rPr lang="en-US" sz="800" dirty="0"/>
              <a:t> </a:t>
            </a:r>
            <a:r>
              <a:rPr lang="en-US" sz="800" dirty="0" err="1"/>
              <a:t>nežádoucích</a:t>
            </a:r>
            <a:r>
              <a:rPr lang="en-US" sz="800" dirty="0"/>
              <a:t> </a:t>
            </a:r>
            <a:r>
              <a:rPr lang="en-US" sz="800" dirty="0" err="1"/>
              <a:t>účinků</a:t>
            </a:r>
            <a:r>
              <a:rPr lang="en-US" sz="800" dirty="0"/>
              <a:t> </a:t>
            </a:r>
            <a:r>
              <a:rPr lang="en-US" sz="800" dirty="0" err="1"/>
              <a:t>naleznete</a:t>
            </a:r>
            <a:r>
              <a:rPr lang="en-US" sz="800" dirty="0"/>
              <a:t> v SPC. </a:t>
            </a:r>
            <a:r>
              <a:rPr lang="en-US" sz="800" dirty="0" err="1"/>
              <a:t>Pacienti</a:t>
            </a:r>
            <a:r>
              <a:rPr lang="en-US" sz="800" dirty="0"/>
              <a:t> </a:t>
            </a:r>
            <a:r>
              <a:rPr lang="en-US" sz="800" dirty="0" err="1"/>
              <a:t>léčení</a:t>
            </a:r>
            <a:r>
              <a:rPr lang="en-US" sz="800" dirty="0"/>
              <a:t> </a:t>
            </a:r>
            <a:r>
              <a:rPr lang="en-US" sz="800" dirty="0" err="1"/>
              <a:t>přípravkem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v </a:t>
            </a:r>
            <a:r>
              <a:rPr lang="en-US" sz="800" dirty="0" err="1"/>
              <a:t>monoterapii</a:t>
            </a:r>
            <a:r>
              <a:rPr lang="en-US" sz="800" dirty="0"/>
              <a:t> v 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linii</a:t>
            </a:r>
            <a:r>
              <a:rPr lang="en-US" sz="800" dirty="0"/>
              <a:t> UK, *v </a:t>
            </a:r>
            <a:r>
              <a:rPr lang="en-US" sz="800" dirty="0" err="1"/>
              <a:t>časném</a:t>
            </a:r>
            <a:r>
              <a:rPr lang="en-US" sz="800" dirty="0"/>
              <a:t> </a:t>
            </a:r>
            <a:r>
              <a:rPr lang="en-US" sz="800" dirty="0" err="1"/>
              <a:t>stadiu</a:t>
            </a:r>
            <a:r>
              <a:rPr lang="en-US" sz="800" dirty="0"/>
              <a:t> NSCLC a v 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linii</a:t>
            </a:r>
            <a:r>
              <a:rPr lang="en-US" sz="800" dirty="0"/>
              <a:t> </a:t>
            </a:r>
            <a:r>
              <a:rPr lang="en-US" sz="800" dirty="0" err="1"/>
              <a:t>metastazujícího</a:t>
            </a:r>
            <a:r>
              <a:rPr lang="en-US" sz="800" dirty="0"/>
              <a:t> </a:t>
            </a:r>
            <a:r>
              <a:rPr lang="en-US" sz="800" dirty="0" err="1"/>
              <a:t>NSCLC,a</a:t>
            </a:r>
            <a:r>
              <a:rPr lang="en-US" sz="800" dirty="0"/>
              <a:t> </a:t>
            </a:r>
            <a:r>
              <a:rPr lang="en-US" sz="800" dirty="0" err="1"/>
              <a:t>pacienti</a:t>
            </a:r>
            <a:r>
              <a:rPr lang="en-US" sz="800" dirty="0"/>
              <a:t> </a:t>
            </a:r>
            <a:r>
              <a:rPr lang="en-US" sz="800" dirty="0" err="1"/>
              <a:t>léčení</a:t>
            </a:r>
            <a:r>
              <a:rPr lang="en-US" sz="800" dirty="0"/>
              <a:t> </a:t>
            </a:r>
            <a:r>
              <a:rPr lang="en-US" sz="800" dirty="0" err="1"/>
              <a:t>přípravkem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v </a:t>
            </a:r>
            <a:r>
              <a:rPr lang="en-US" sz="800" dirty="0" err="1"/>
              <a:t>kombinované</a:t>
            </a:r>
            <a:r>
              <a:rPr lang="en-US" sz="800" dirty="0"/>
              <a:t> </a:t>
            </a:r>
            <a:r>
              <a:rPr lang="en-US" sz="800" dirty="0" err="1"/>
              <a:t>terapii</a:t>
            </a:r>
            <a:r>
              <a:rPr lang="en-US" sz="800" dirty="0"/>
              <a:t> s </a:t>
            </a:r>
            <a:r>
              <a:rPr lang="en-US" sz="800" dirty="0" err="1"/>
              <a:t>dříve</a:t>
            </a:r>
            <a:r>
              <a:rPr lang="en-US" sz="800" dirty="0"/>
              <a:t> </a:t>
            </a:r>
            <a:r>
              <a:rPr lang="en-US" sz="800" dirty="0" err="1"/>
              <a:t>neléčeným</a:t>
            </a:r>
            <a:r>
              <a:rPr lang="en-US" sz="800" dirty="0"/>
              <a:t> TNBC </a:t>
            </a:r>
            <a:r>
              <a:rPr lang="en-US" sz="800" dirty="0" err="1"/>
              <a:t>mají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k 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vybíráni</a:t>
            </a:r>
            <a:r>
              <a:rPr lang="en-US" sz="800" dirty="0"/>
              <a:t> </a:t>
            </a:r>
            <a:r>
              <a:rPr lang="en-US" sz="800" dirty="0" err="1"/>
              <a:t>na</a:t>
            </a:r>
            <a:r>
              <a:rPr lang="en-US" sz="800" dirty="0"/>
              <a:t> </a:t>
            </a:r>
            <a:r>
              <a:rPr lang="en-US" sz="800" dirty="0" err="1"/>
              <a:t>základě</a:t>
            </a:r>
            <a:r>
              <a:rPr lang="en-US" sz="800" dirty="0"/>
              <a:t> </a:t>
            </a:r>
            <a:r>
              <a:rPr lang="en-US" sz="800" dirty="0" err="1"/>
              <a:t>potvrzené</a:t>
            </a:r>
            <a:r>
              <a:rPr lang="en-US" sz="800" dirty="0"/>
              <a:t> </a:t>
            </a:r>
            <a:r>
              <a:rPr lang="en-US" sz="800" dirty="0" err="1"/>
              <a:t>exprese</a:t>
            </a:r>
            <a:r>
              <a:rPr lang="en-US" sz="800" dirty="0"/>
              <a:t> PD-L1 </a:t>
            </a:r>
            <a:r>
              <a:rPr lang="en-US" sz="800" dirty="0" err="1"/>
              <a:t>validovaným</a:t>
            </a:r>
            <a:r>
              <a:rPr lang="en-US" sz="800" dirty="0"/>
              <a:t> </a:t>
            </a:r>
            <a:r>
              <a:rPr lang="en-US" sz="800" dirty="0" err="1"/>
              <a:t>testem</a:t>
            </a:r>
            <a:r>
              <a:rPr lang="en-US" sz="800" dirty="0"/>
              <a:t>. </a:t>
            </a:r>
            <a:r>
              <a:rPr lang="en-US" sz="800" b="1" dirty="0" err="1"/>
              <a:t>Kontraindikace</a:t>
            </a:r>
            <a:r>
              <a:rPr lang="en-US" sz="800" b="1" dirty="0"/>
              <a:t>:</a:t>
            </a:r>
            <a:r>
              <a:rPr lang="en-US" sz="800" dirty="0"/>
              <a:t> </a:t>
            </a:r>
            <a:r>
              <a:rPr lang="en-US" sz="800" dirty="0" err="1"/>
              <a:t>Hypersenzitivita</a:t>
            </a:r>
            <a:r>
              <a:rPr lang="en-US" sz="800" dirty="0"/>
              <a:t> </a:t>
            </a:r>
            <a:r>
              <a:rPr lang="en-US" sz="800" dirty="0" err="1"/>
              <a:t>na</a:t>
            </a:r>
            <a:r>
              <a:rPr lang="en-US" sz="800" dirty="0"/>
              <a:t> </a:t>
            </a:r>
            <a:r>
              <a:rPr lang="en-US" sz="800" dirty="0" err="1"/>
              <a:t>atezolizumab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na</a:t>
            </a:r>
            <a:r>
              <a:rPr lang="en-US" sz="800" dirty="0"/>
              <a:t> </a:t>
            </a:r>
            <a:r>
              <a:rPr lang="en-US" sz="800" dirty="0" err="1"/>
              <a:t>kteroukoli</a:t>
            </a:r>
            <a:r>
              <a:rPr lang="en-US" sz="800" dirty="0"/>
              <a:t> </a:t>
            </a:r>
            <a:r>
              <a:rPr lang="en-US" sz="800" dirty="0" err="1"/>
              <a:t>pomocnou</a:t>
            </a:r>
            <a:r>
              <a:rPr lang="en-US" sz="800" dirty="0"/>
              <a:t> </a:t>
            </a:r>
            <a:r>
              <a:rPr lang="en-US" sz="800" dirty="0" err="1"/>
              <a:t>látku</a:t>
            </a:r>
            <a:r>
              <a:rPr lang="en-US" sz="800" dirty="0"/>
              <a:t>. </a:t>
            </a:r>
            <a:r>
              <a:rPr lang="en-US" sz="800" b="1" dirty="0" err="1"/>
              <a:t>Upozornění</a:t>
            </a:r>
            <a:r>
              <a:rPr lang="en-US" sz="800" b="1" dirty="0"/>
              <a:t>:</a:t>
            </a:r>
            <a:r>
              <a:rPr lang="en-US" sz="800" dirty="0"/>
              <a:t> Z </a:t>
            </a:r>
            <a:r>
              <a:rPr lang="en-US" sz="800" dirty="0" err="1"/>
              <a:t>důvodu</a:t>
            </a:r>
            <a:r>
              <a:rPr lang="en-US" sz="800" dirty="0"/>
              <a:t> </a:t>
            </a:r>
            <a:r>
              <a:rPr lang="en-US" sz="800" dirty="0" err="1"/>
              <a:t>snadnější</a:t>
            </a:r>
            <a:r>
              <a:rPr lang="en-US" sz="800" dirty="0"/>
              <a:t> </a:t>
            </a:r>
            <a:r>
              <a:rPr lang="en-US" sz="800" dirty="0" err="1"/>
              <a:t>zpětné</a:t>
            </a:r>
            <a:r>
              <a:rPr lang="en-US" sz="800" dirty="0"/>
              <a:t> </a:t>
            </a:r>
            <a:r>
              <a:rPr lang="en-US" sz="800" dirty="0" err="1"/>
              <a:t>zjistitelnosti</a:t>
            </a:r>
            <a:r>
              <a:rPr lang="en-US" sz="800" dirty="0"/>
              <a:t> </a:t>
            </a:r>
            <a:r>
              <a:rPr lang="en-US" sz="800" dirty="0" err="1"/>
              <a:t>biologických</a:t>
            </a:r>
            <a:r>
              <a:rPr lang="en-US" sz="800" dirty="0"/>
              <a:t> </a:t>
            </a:r>
            <a:r>
              <a:rPr lang="en-US" sz="800" dirty="0" err="1"/>
              <a:t>léčivých</a:t>
            </a:r>
            <a:r>
              <a:rPr lang="en-US" sz="800" dirty="0"/>
              <a:t> </a:t>
            </a:r>
            <a:r>
              <a:rPr lang="en-US" sz="800" dirty="0" err="1"/>
              <a:t>přípravků</a:t>
            </a:r>
            <a:r>
              <a:rPr lang="en-US" sz="800" dirty="0"/>
              <a:t> </a:t>
            </a:r>
            <a:r>
              <a:rPr lang="en-US" sz="800" dirty="0" err="1"/>
              <a:t>má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obchodní</a:t>
            </a:r>
            <a:r>
              <a:rPr lang="en-US" sz="800" dirty="0"/>
              <a:t> </a:t>
            </a:r>
            <a:r>
              <a:rPr lang="en-US" sz="800" dirty="0" err="1"/>
              <a:t>název</a:t>
            </a:r>
            <a:r>
              <a:rPr lang="en-US" sz="800" dirty="0"/>
              <a:t> a </a:t>
            </a:r>
            <a:r>
              <a:rPr lang="en-US" sz="800" dirty="0" err="1"/>
              <a:t>číslo</a:t>
            </a:r>
            <a:r>
              <a:rPr lang="en-US" sz="800" dirty="0"/>
              <a:t> </a:t>
            </a:r>
            <a:r>
              <a:rPr lang="en-US" sz="800" dirty="0" err="1"/>
              <a:t>šarže</a:t>
            </a:r>
            <a:r>
              <a:rPr lang="en-US" sz="800" dirty="0"/>
              <a:t> </a:t>
            </a:r>
            <a:r>
              <a:rPr lang="en-US" sz="800" dirty="0" err="1"/>
              <a:t>podávaného</a:t>
            </a:r>
            <a:r>
              <a:rPr lang="en-US" sz="800" dirty="0"/>
              <a:t> </a:t>
            </a:r>
            <a:r>
              <a:rPr lang="en-US" sz="800" dirty="0" err="1"/>
              <a:t>přípravku</a:t>
            </a:r>
            <a:r>
              <a:rPr lang="en-US" sz="800" dirty="0"/>
              <a:t> </a:t>
            </a:r>
            <a:r>
              <a:rPr lang="en-US" sz="800" dirty="0" err="1"/>
              <a:t>zřetelně</a:t>
            </a:r>
            <a:r>
              <a:rPr lang="en-US" sz="800" dirty="0"/>
              <a:t> </a:t>
            </a:r>
            <a:r>
              <a:rPr lang="en-US" sz="800" dirty="0" err="1"/>
              <a:t>zaznamenány</a:t>
            </a:r>
            <a:r>
              <a:rPr lang="en-US" sz="800" dirty="0"/>
              <a:t> v </a:t>
            </a:r>
            <a:r>
              <a:rPr lang="en-US" sz="800" dirty="0" err="1"/>
              <a:t>pacientově</a:t>
            </a:r>
            <a:r>
              <a:rPr lang="en-US" sz="800" dirty="0"/>
              <a:t> </a:t>
            </a:r>
            <a:r>
              <a:rPr lang="en-US" sz="800" dirty="0" err="1"/>
              <a:t>dokumentaci</a:t>
            </a:r>
            <a:r>
              <a:rPr lang="en-US" sz="800" dirty="0"/>
              <a:t>. </a:t>
            </a:r>
            <a:r>
              <a:rPr lang="en-US" sz="800" b="1" i="1" dirty="0" err="1"/>
              <a:t>Byly</a:t>
            </a:r>
            <a:r>
              <a:rPr lang="en-US" sz="800" b="1" i="1" dirty="0"/>
              <a:t> </a:t>
            </a:r>
            <a:r>
              <a:rPr lang="en-US" sz="800" b="1" i="1" dirty="0" err="1"/>
              <a:t>pozorovány</a:t>
            </a:r>
            <a:r>
              <a:rPr lang="en-US" sz="800" b="1" i="1" dirty="0"/>
              <a:t> </a:t>
            </a:r>
            <a:r>
              <a:rPr lang="en-US" sz="800" b="1" i="1" dirty="0" err="1"/>
              <a:t>imunitně</a:t>
            </a:r>
            <a:r>
              <a:rPr lang="en-US" sz="800" b="1" i="1" dirty="0"/>
              <a:t> </a:t>
            </a:r>
            <a:r>
              <a:rPr lang="en-US" sz="800" b="1" i="1" dirty="0" err="1"/>
              <a:t>podmíněné</a:t>
            </a:r>
            <a:r>
              <a:rPr lang="en-US" sz="800" b="1" i="1" dirty="0"/>
              <a:t> </a:t>
            </a:r>
            <a:r>
              <a:rPr lang="en-US" sz="800" b="1" i="1" dirty="0" err="1"/>
              <a:t>nežádoucí</a:t>
            </a:r>
            <a:r>
              <a:rPr lang="en-US" sz="800" b="1" i="1" dirty="0"/>
              <a:t> </a:t>
            </a:r>
            <a:r>
              <a:rPr lang="en-US" sz="800" b="1" i="1" dirty="0" err="1"/>
              <a:t>účinky</a:t>
            </a:r>
            <a:r>
              <a:rPr lang="en-US" sz="800" b="1" i="1" dirty="0"/>
              <a:t> </a:t>
            </a:r>
            <a:r>
              <a:rPr lang="en-US" sz="800" b="1" i="1" dirty="0" err="1"/>
              <a:t>postihující</a:t>
            </a:r>
            <a:r>
              <a:rPr lang="en-US" sz="800" b="1" i="1" dirty="0"/>
              <a:t> </a:t>
            </a:r>
            <a:r>
              <a:rPr lang="en-US" sz="800" b="1" i="1" dirty="0" err="1"/>
              <a:t>více</a:t>
            </a:r>
            <a:r>
              <a:rPr lang="en-US" sz="800" b="1" i="1" dirty="0"/>
              <a:t> </a:t>
            </a:r>
            <a:r>
              <a:rPr lang="en-US" sz="800" b="1" i="1" dirty="0" err="1"/>
              <a:t>než</a:t>
            </a:r>
            <a:r>
              <a:rPr lang="en-US" sz="800" b="1" i="1" dirty="0"/>
              <a:t> </a:t>
            </a:r>
            <a:r>
              <a:rPr lang="en-US" sz="800" b="1" i="1" dirty="0" err="1"/>
              <a:t>jeden</a:t>
            </a:r>
            <a:r>
              <a:rPr lang="en-US" sz="800" b="1" i="1" dirty="0"/>
              <a:t> </a:t>
            </a:r>
            <a:r>
              <a:rPr lang="en-US" sz="800" b="1" i="1" dirty="0" err="1"/>
              <a:t>tělesný</a:t>
            </a:r>
            <a:r>
              <a:rPr lang="en-US" sz="800" b="1" i="1" dirty="0"/>
              <a:t> </a:t>
            </a:r>
            <a:r>
              <a:rPr lang="en-US" sz="800" b="1" i="1" dirty="0" err="1"/>
              <a:t>systém</a:t>
            </a:r>
            <a:r>
              <a:rPr lang="en-US" sz="800" b="1" i="1" dirty="0"/>
              <a:t>.</a:t>
            </a:r>
            <a:r>
              <a:rPr lang="en-US" sz="800" dirty="0"/>
              <a:t> </a:t>
            </a:r>
            <a:r>
              <a:rPr lang="en-US" sz="800" dirty="0" err="1"/>
              <a:t>Většina</a:t>
            </a:r>
            <a:r>
              <a:rPr lang="en-US" sz="800" dirty="0"/>
              <a:t> </a:t>
            </a:r>
            <a:r>
              <a:rPr lang="en-US" sz="800" dirty="0" err="1"/>
              <a:t>imunitně</a:t>
            </a:r>
            <a:r>
              <a:rPr lang="en-US" sz="800" dirty="0"/>
              <a:t> </a:t>
            </a:r>
            <a:r>
              <a:rPr lang="en-US" sz="800" dirty="0" err="1"/>
              <a:t>podmíněných</a:t>
            </a:r>
            <a:r>
              <a:rPr lang="en-US" sz="800" dirty="0"/>
              <a:t> </a:t>
            </a:r>
            <a:r>
              <a:rPr lang="en-US" sz="800" dirty="0" err="1"/>
              <a:t>nežádoucích</a:t>
            </a:r>
            <a:r>
              <a:rPr lang="en-US" sz="800" dirty="0"/>
              <a:t> </a:t>
            </a:r>
            <a:r>
              <a:rPr lang="en-US" sz="800" dirty="0" err="1"/>
              <a:t>účinků</a:t>
            </a:r>
            <a:r>
              <a:rPr lang="en-US" sz="800" dirty="0"/>
              <a:t> </a:t>
            </a:r>
            <a:r>
              <a:rPr lang="en-US" sz="800" dirty="0" err="1"/>
              <a:t>vyskytujících</a:t>
            </a:r>
            <a:r>
              <a:rPr lang="en-US" sz="800" dirty="0"/>
              <a:t> se v </a:t>
            </a:r>
            <a:r>
              <a:rPr lang="en-US" sz="800" dirty="0" err="1"/>
              <a:t>průběhu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</a:t>
            </a:r>
            <a:r>
              <a:rPr lang="en-US" sz="800" dirty="0" err="1"/>
              <a:t>byla</a:t>
            </a:r>
            <a:r>
              <a:rPr lang="en-US" sz="800" dirty="0"/>
              <a:t> </a:t>
            </a:r>
            <a:r>
              <a:rPr lang="en-US" sz="800" dirty="0" err="1"/>
              <a:t>reverzibilních</a:t>
            </a:r>
            <a:r>
              <a:rPr lang="en-US" sz="800" dirty="0"/>
              <a:t> </a:t>
            </a:r>
            <a:r>
              <a:rPr lang="en-US" sz="800" dirty="0" err="1"/>
              <a:t>při</a:t>
            </a:r>
            <a:r>
              <a:rPr lang="en-US" sz="800" dirty="0"/>
              <a:t> </a:t>
            </a:r>
            <a:r>
              <a:rPr lang="en-US" sz="800" dirty="0" err="1"/>
              <a:t>přerušení</a:t>
            </a:r>
            <a:r>
              <a:rPr lang="en-US" sz="800" dirty="0"/>
              <a:t> </a:t>
            </a:r>
            <a:r>
              <a:rPr lang="en-US" sz="800" dirty="0" err="1"/>
              <a:t>podávání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a </a:t>
            </a:r>
            <a:r>
              <a:rPr lang="en-US" sz="800" dirty="0" err="1"/>
              <a:t>zahájení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kortikosteroidy</a:t>
            </a:r>
            <a:r>
              <a:rPr lang="en-US" sz="800" dirty="0"/>
              <a:t> a/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podpůrné</a:t>
            </a:r>
            <a:r>
              <a:rPr lang="en-US" sz="800" dirty="0"/>
              <a:t> </a:t>
            </a:r>
            <a:r>
              <a:rPr lang="en-US" sz="800" dirty="0" err="1"/>
              <a:t>péče</a:t>
            </a:r>
            <a:r>
              <a:rPr lang="en-US" sz="800" dirty="0"/>
              <a:t>. </a:t>
            </a:r>
            <a:r>
              <a:rPr lang="en-US" sz="800" dirty="0" err="1"/>
              <a:t>Při</a:t>
            </a:r>
            <a:r>
              <a:rPr lang="en-US" sz="800" dirty="0"/>
              <a:t> </a:t>
            </a:r>
            <a:r>
              <a:rPr lang="en-US" sz="800" dirty="0" err="1"/>
              <a:t>podezření</a:t>
            </a:r>
            <a:r>
              <a:rPr lang="en-US" sz="800" dirty="0"/>
              <a:t> </a:t>
            </a:r>
            <a:r>
              <a:rPr lang="en-US" sz="800" dirty="0" err="1"/>
              <a:t>na</a:t>
            </a:r>
            <a:r>
              <a:rPr lang="en-US" sz="800" dirty="0"/>
              <a:t> </a:t>
            </a:r>
            <a:r>
              <a:rPr lang="en-US" sz="800" dirty="0" err="1"/>
              <a:t>imunitně</a:t>
            </a:r>
            <a:r>
              <a:rPr lang="en-US" sz="800" dirty="0"/>
              <a:t> </a:t>
            </a:r>
            <a:r>
              <a:rPr lang="en-US" sz="800" dirty="0" err="1"/>
              <a:t>podmíněné</a:t>
            </a:r>
            <a:r>
              <a:rPr lang="en-US" sz="800" dirty="0"/>
              <a:t> </a:t>
            </a:r>
            <a:r>
              <a:rPr lang="en-US" sz="800" dirty="0" err="1"/>
              <a:t>nežádoucí</a:t>
            </a:r>
            <a:r>
              <a:rPr lang="en-US" sz="800" dirty="0"/>
              <a:t> </a:t>
            </a:r>
            <a:r>
              <a:rPr lang="en-US" sz="800" dirty="0" err="1"/>
              <a:t>účinky</a:t>
            </a:r>
            <a:r>
              <a:rPr lang="en-US" sz="800" dirty="0"/>
              <a:t> </a:t>
            </a:r>
            <a:r>
              <a:rPr lang="en-US" sz="800" dirty="0" err="1"/>
              <a:t>musí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provedeno</a:t>
            </a:r>
            <a:r>
              <a:rPr lang="en-US" sz="800" dirty="0"/>
              <a:t> </a:t>
            </a:r>
            <a:r>
              <a:rPr lang="en-US" sz="800" dirty="0" err="1"/>
              <a:t>důkladné</a:t>
            </a:r>
            <a:r>
              <a:rPr lang="en-US" sz="800" dirty="0"/>
              <a:t> </a:t>
            </a:r>
            <a:r>
              <a:rPr lang="en-US" sz="800" dirty="0" err="1"/>
              <a:t>posouzení</a:t>
            </a:r>
            <a:r>
              <a:rPr lang="en-US" sz="800" dirty="0"/>
              <a:t> </a:t>
            </a:r>
            <a:r>
              <a:rPr lang="en-US" sz="800" dirty="0" err="1"/>
              <a:t>za</a:t>
            </a:r>
            <a:r>
              <a:rPr lang="en-US" sz="800" dirty="0"/>
              <a:t> </a:t>
            </a:r>
            <a:r>
              <a:rPr lang="en-US" sz="800" dirty="0" err="1"/>
              <a:t>účelem</a:t>
            </a:r>
            <a:r>
              <a:rPr lang="en-US" sz="800" dirty="0"/>
              <a:t> </a:t>
            </a:r>
            <a:r>
              <a:rPr lang="en-US" sz="800" dirty="0" err="1"/>
              <a:t>potvrzení</a:t>
            </a:r>
            <a:r>
              <a:rPr lang="en-US" sz="800" dirty="0"/>
              <a:t> </a:t>
            </a:r>
            <a:r>
              <a:rPr lang="en-US" sz="800" dirty="0" err="1"/>
              <a:t>etiologie</a:t>
            </a:r>
            <a:r>
              <a:rPr lang="en-US" sz="800" dirty="0"/>
              <a:t> a </a:t>
            </a:r>
            <a:r>
              <a:rPr lang="en-US" sz="800" dirty="0" err="1"/>
              <a:t>vyloučení</a:t>
            </a:r>
            <a:r>
              <a:rPr lang="en-US" sz="800" dirty="0"/>
              <a:t> </a:t>
            </a:r>
            <a:r>
              <a:rPr lang="en-US" sz="800" dirty="0" err="1"/>
              <a:t>jiných</a:t>
            </a:r>
            <a:r>
              <a:rPr lang="en-US" sz="800" dirty="0"/>
              <a:t> </a:t>
            </a:r>
            <a:r>
              <a:rPr lang="en-US" sz="800" dirty="0" err="1"/>
              <a:t>příčin</a:t>
            </a:r>
            <a:r>
              <a:rPr lang="en-US" sz="800" dirty="0"/>
              <a:t>. </a:t>
            </a:r>
            <a:r>
              <a:rPr lang="en-US" sz="800" dirty="0" err="1"/>
              <a:t>Podle</a:t>
            </a:r>
            <a:r>
              <a:rPr lang="en-US" sz="800" dirty="0"/>
              <a:t> </a:t>
            </a:r>
            <a:r>
              <a:rPr lang="en-US" sz="800" dirty="0" err="1"/>
              <a:t>závažnosti</a:t>
            </a:r>
            <a:r>
              <a:rPr lang="en-US" sz="800" dirty="0"/>
              <a:t> </a:t>
            </a:r>
            <a:r>
              <a:rPr lang="en-US" sz="800" dirty="0" err="1"/>
              <a:t>nežádoucího</a:t>
            </a:r>
            <a:r>
              <a:rPr lang="en-US" sz="800" dirty="0"/>
              <a:t> </a:t>
            </a:r>
            <a:r>
              <a:rPr lang="en-US" sz="800" dirty="0" err="1"/>
              <a:t>účinku</a:t>
            </a:r>
            <a:r>
              <a:rPr lang="en-US" sz="800" dirty="0"/>
              <a:t> je </a:t>
            </a:r>
            <a:r>
              <a:rPr lang="en-US" sz="800" dirty="0" err="1"/>
              <a:t>třeba</a:t>
            </a:r>
            <a:r>
              <a:rPr lang="en-US" sz="800" dirty="0"/>
              <a:t> </a:t>
            </a:r>
            <a:r>
              <a:rPr lang="en-US" sz="800" dirty="0" err="1"/>
              <a:t>ukončit</a:t>
            </a:r>
            <a:r>
              <a:rPr lang="en-US" sz="800" dirty="0"/>
              <a:t> </a:t>
            </a:r>
            <a:r>
              <a:rPr lang="en-US" sz="800" dirty="0" err="1"/>
              <a:t>podávání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a </a:t>
            </a:r>
            <a:r>
              <a:rPr lang="en-US" sz="800" dirty="0" err="1"/>
              <a:t>zahájit</a:t>
            </a:r>
            <a:r>
              <a:rPr lang="en-US" sz="800" dirty="0"/>
              <a:t> </a:t>
            </a:r>
            <a:r>
              <a:rPr lang="en-US" sz="800" dirty="0" err="1"/>
              <a:t>léčbu</a:t>
            </a:r>
            <a:r>
              <a:rPr lang="en-US" sz="800" dirty="0"/>
              <a:t> </a:t>
            </a:r>
            <a:r>
              <a:rPr lang="en-US" sz="800" dirty="0" err="1"/>
              <a:t>kortikosteroidy</a:t>
            </a:r>
            <a:r>
              <a:rPr lang="en-US" sz="800" dirty="0"/>
              <a:t>. </a:t>
            </a:r>
            <a:r>
              <a:rPr lang="en-US" sz="800" dirty="0" err="1"/>
              <a:t>Podrobné</a:t>
            </a:r>
            <a:r>
              <a:rPr lang="en-US" sz="800" dirty="0"/>
              <a:t> </a:t>
            </a:r>
            <a:r>
              <a:rPr lang="en-US" sz="800" dirty="0" err="1"/>
              <a:t>informace</a:t>
            </a:r>
            <a:r>
              <a:rPr lang="en-US" sz="800" dirty="0"/>
              <a:t> </a:t>
            </a:r>
            <a:r>
              <a:rPr lang="en-US" sz="800" dirty="0" err="1"/>
              <a:t>týkající</a:t>
            </a:r>
            <a:r>
              <a:rPr lang="en-US" sz="800" dirty="0"/>
              <a:t> se </a:t>
            </a:r>
            <a:r>
              <a:rPr lang="en-US" sz="800" dirty="0" err="1"/>
              <a:t>jednotlivých</a:t>
            </a:r>
            <a:r>
              <a:rPr lang="en-US" sz="800" dirty="0"/>
              <a:t> </a:t>
            </a:r>
            <a:r>
              <a:rPr lang="en-US" sz="800" dirty="0" err="1"/>
              <a:t>imunitně</a:t>
            </a:r>
            <a:r>
              <a:rPr lang="en-US" sz="800" dirty="0"/>
              <a:t> </a:t>
            </a:r>
            <a:r>
              <a:rPr lang="en-US" sz="800" dirty="0" err="1"/>
              <a:t>podmíněných</a:t>
            </a:r>
            <a:r>
              <a:rPr lang="en-US" sz="800" dirty="0"/>
              <a:t> </a:t>
            </a:r>
            <a:r>
              <a:rPr lang="en-US" sz="800" dirty="0" err="1"/>
              <a:t>nežádoucích</a:t>
            </a:r>
            <a:r>
              <a:rPr lang="en-US" sz="800" dirty="0"/>
              <a:t> </a:t>
            </a:r>
            <a:r>
              <a:rPr lang="en-US" sz="800" dirty="0" err="1"/>
              <a:t>reakcí</a:t>
            </a:r>
            <a:r>
              <a:rPr lang="en-US" sz="800" dirty="0"/>
              <a:t> a </a:t>
            </a:r>
            <a:r>
              <a:rPr lang="en-US" sz="800" dirty="0" err="1"/>
              <a:t>doporučení</a:t>
            </a:r>
            <a:r>
              <a:rPr lang="en-US" sz="800" dirty="0"/>
              <a:t> pro </a:t>
            </a:r>
            <a:r>
              <a:rPr lang="en-US" sz="800" dirty="0" err="1"/>
              <a:t>léčbu</a:t>
            </a:r>
            <a:r>
              <a:rPr lang="en-US" sz="800" dirty="0"/>
              <a:t> </a:t>
            </a:r>
            <a:r>
              <a:rPr lang="en-US" sz="800" dirty="0" err="1"/>
              <a:t>naleznete</a:t>
            </a:r>
            <a:r>
              <a:rPr lang="en-US" sz="800" dirty="0"/>
              <a:t> v SPC. </a:t>
            </a:r>
            <a:r>
              <a:rPr lang="en-US" sz="800" dirty="0" err="1"/>
              <a:t>Všichni</a:t>
            </a:r>
            <a:r>
              <a:rPr lang="en-US" sz="800" dirty="0"/>
              <a:t> </a:t>
            </a:r>
            <a:r>
              <a:rPr lang="en-US" sz="800" dirty="0" err="1"/>
              <a:t>lékaři</a:t>
            </a:r>
            <a:r>
              <a:rPr lang="en-US" sz="800" dirty="0"/>
              <a:t>,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předepisují</a:t>
            </a:r>
            <a:r>
              <a:rPr lang="en-US" sz="800" dirty="0"/>
              <a:t>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, </a:t>
            </a:r>
            <a:r>
              <a:rPr lang="en-US" sz="800" dirty="0" err="1"/>
              <a:t>musejí</a:t>
            </a:r>
            <a:r>
              <a:rPr lang="en-US" sz="800" dirty="0"/>
              <a:t> </a:t>
            </a:r>
            <a:r>
              <a:rPr lang="en-US" sz="800" dirty="0" err="1"/>
              <a:t>dobře</a:t>
            </a:r>
            <a:r>
              <a:rPr lang="en-US" sz="800" dirty="0"/>
              <a:t> </a:t>
            </a:r>
            <a:r>
              <a:rPr lang="en-US" sz="800" dirty="0" err="1"/>
              <a:t>znát</a:t>
            </a:r>
            <a:r>
              <a:rPr lang="en-US" sz="800" dirty="0"/>
              <a:t> </a:t>
            </a:r>
            <a:r>
              <a:rPr lang="en-US" sz="800" dirty="0" err="1"/>
              <a:t>Pokyny</a:t>
            </a:r>
            <a:r>
              <a:rPr lang="en-US" sz="800" dirty="0"/>
              <a:t> a </a:t>
            </a:r>
            <a:r>
              <a:rPr lang="en-US" sz="800" dirty="0" err="1"/>
              <a:t>informace</a:t>
            </a:r>
            <a:r>
              <a:rPr lang="en-US" sz="800" dirty="0"/>
              <a:t> pro </a:t>
            </a:r>
            <a:r>
              <a:rPr lang="en-US" sz="800" dirty="0" err="1"/>
              <a:t>lékaře</a:t>
            </a:r>
            <a:r>
              <a:rPr lang="en-US" sz="800" dirty="0"/>
              <a:t> </a:t>
            </a:r>
            <a:r>
              <a:rPr lang="en-US" sz="800" dirty="0" err="1"/>
              <a:t>týkající</a:t>
            </a:r>
            <a:r>
              <a:rPr lang="en-US" sz="800" dirty="0"/>
              <a:t> se </a:t>
            </a:r>
            <a:r>
              <a:rPr lang="en-US" sz="800" dirty="0" err="1"/>
              <a:t>léčby</a:t>
            </a:r>
            <a:r>
              <a:rPr lang="en-US" sz="800" dirty="0"/>
              <a:t>. </a:t>
            </a:r>
            <a:r>
              <a:rPr lang="en-US" sz="800" dirty="0" err="1"/>
              <a:t>Předepisující</a:t>
            </a:r>
            <a:r>
              <a:rPr lang="en-US" sz="800" dirty="0"/>
              <a:t> </a:t>
            </a:r>
            <a:r>
              <a:rPr lang="en-US" sz="800" dirty="0" err="1"/>
              <a:t>lékař</a:t>
            </a:r>
            <a:r>
              <a:rPr lang="en-US" sz="800" dirty="0"/>
              <a:t> </a:t>
            </a:r>
            <a:r>
              <a:rPr lang="en-US" sz="800" dirty="0" err="1"/>
              <a:t>musí</a:t>
            </a:r>
            <a:r>
              <a:rPr lang="en-US" sz="800" dirty="0"/>
              <a:t> s </a:t>
            </a:r>
            <a:r>
              <a:rPr lang="en-US" sz="800" dirty="0" err="1"/>
              <a:t>pacientem</a:t>
            </a:r>
            <a:r>
              <a:rPr lang="en-US" sz="800" dirty="0"/>
              <a:t> </a:t>
            </a:r>
            <a:r>
              <a:rPr lang="en-US" sz="800" dirty="0" err="1"/>
              <a:t>probrat</a:t>
            </a:r>
            <a:r>
              <a:rPr lang="en-US" sz="800" dirty="0"/>
              <a:t> </a:t>
            </a:r>
            <a:r>
              <a:rPr lang="en-US" sz="800" dirty="0" err="1"/>
              <a:t>rizika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přípravkem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. </a:t>
            </a:r>
            <a:r>
              <a:rPr lang="en-US" sz="800" dirty="0" err="1"/>
              <a:t>Pacient</a:t>
            </a:r>
            <a:r>
              <a:rPr lang="en-US" sz="800" dirty="0"/>
              <a:t> </a:t>
            </a:r>
            <a:r>
              <a:rPr lang="en-US" sz="800" dirty="0" err="1"/>
              <a:t>dostane</a:t>
            </a:r>
            <a:r>
              <a:rPr lang="en-US" sz="800" dirty="0"/>
              <a:t> </a:t>
            </a:r>
            <a:r>
              <a:rPr lang="en-US" sz="800" dirty="0" err="1"/>
              <a:t>kartu</a:t>
            </a:r>
            <a:r>
              <a:rPr lang="en-US" sz="800" dirty="0"/>
              <a:t> </a:t>
            </a:r>
            <a:r>
              <a:rPr lang="en-US" sz="800" dirty="0" err="1"/>
              <a:t>pacienta</a:t>
            </a:r>
            <a:r>
              <a:rPr lang="en-US" sz="800" dirty="0"/>
              <a:t> a </a:t>
            </a:r>
            <a:r>
              <a:rPr lang="en-US" sz="800" dirty="0" err="1"/>
              <a:t>bude</a:t>
            </a:r>
            <a:r>
              <a:rPr lang="en-US" sz="800" dirty="0"/>
              <a:t> </a:t>
            </a:r>
            <a:r>
              <a:rPr lang="en-US" sz="800" dirty="0" err="1"/>
              <a:t>poučen</a:t>
            </a:r>
            <a:r>
              <a:rPr lang="en-US" sz="800" dirty="0"/>
              <a:t>, aby </a:t>
            </a:r>
            <a:r>
              <a:rPr lang="en-US" sz="800" dirty="0" err="1"/>
              <a:t>ji</a:t>
            </a:r>
            <a:r>
              <a:rPr lang="en-US" sz="800" dirty="0"/>
              <a:t> </a:t>
            </a:r>
            <a:r>
              <a:rPr lang="en-US" sz="800" dirty="0" err="1"/>
              <a:t>nosil</a:t>
            </a:r>
            <a:r>
              <a:rPr lang="en-US" sz="800" dirty="0"/>
              <a:t> </a:t>
            </a:r>
            <a:r>
              <a:rPr lang="en-US" sz="800" dirty="0" err="1"/>
              <a:t>stále</a:t>
            </a:r>
            <a:r>
              <a:rPr lang="en-US" sz="800" dirty="0"/>
              <a:t> u </a:t>
            </a:r>
            <a:r>
              <a:rPr lang="en-US" sz="800" dirty="0" err="1"/>
              <a:t>sebe</a:t>
            </a:r>
            <a:r>
              <a:rPr lang="en-US" sz="800" dirty="0"/>
              <a:t>. </a:t>
            </a:r>
            <a:r>
              <a:rPr lang="en-US" sz="800" i="1" u="sng" dirty="0" err="1"/>
              <a:t>Opatření</a:t>
            </a:r>
            <a:r>
              <a:rPr lang="en-US" sz="800" i="1" u="sng" dirty="0"/>
              <a:t> </a:t>
            </a:r>
            <a:r>
              <a:rPr lang="en-US" sz="800" i="1" u="sng" dirty="0" err="1"/>
              <a:t>specifická</a:t>
            </a:r>
            <a:r>
              <a:rPr lang="en-US" sz="800" i="1" u="sng" dirty="0"/>
              <a:t> </a:t>
            </a:r>
            <a:r>
              <a:rPr lang="en-US" sz="800" i="1" u="sng" dirty="0" err="1"/>
              <a:t>dle</a:t>
            </a:r>
            <a:r>
              <a:rPr lang="en-US" sz="800" i="1" u="sng" dirty="0"/>
              <a:t> </a:t>
            </a:r>
            <a:r>
              <a:rPr lang="en-US" sz="800" i="1" u="sng" dirty="0" err="1"/>
              <a:t>onemocnění</a:t>
            </a:r>
            <a:r>
              <a:rPr lang="en-US" sz="800" i="1" u="sng" dirty="0"/>
              <a:t>: </a:t>
            </a:r>
            <a:r>
              <a:rPr lang="en-US" sz="800" i="1" u="sng" dirty="0" err="1"/>
              <a:t>Použití</a:t>
            </a:r>
            <a:r>
              <a:rPr lang="en-US" sz="800" i="1" u="sng" dirty="0"/>
              <a:t> </a:t>
            </a:r>
            <a:r>
              <a:rPr lang="en-US" sz="800" i="1" u="sng" dirty="0" err="1"/>
              <a:t>atezolizumabu</a:t>
            </a:r>
            <a:r>
              <a:rPr lang="en-US" sz="800" i="1" u="sng" dirty="0"/>
              <a:t> v </a:t>
            </a:r>
            <a:r>
              <a:rPr lang="en-US" sz="800" i="1" u="sng" dirty="0" err="1"/>
              <a:t>kombinaci</a:t>
            </a:r>
            <a:r>
              <a:rPr lang="en-US" sz="800" i="1" u="sng" dirty="0"/>
              <a:t> s </a:t>
            </a:r>
            <a:r>
              <a:rPr lang="en-US" sz="800" i="1" u="sng" dirty="0" err="1"/>
              <a:t>bevacizumabem</a:t>
            </a:r>
            <a:r>
              <a:rPr lang="en-US" sz="800" i="1" u="sng" dirty="0"/>
              <a:t> u </a:t>
            </a:r>
            <a:r>
              <a:rPr lang="en-US" sz="800" i="1" u="sng" dirty="0" err="1"/>
              <a:t>hepatocelulárního</a:t>
            </a:r>
            <a:r>
              <a:rPr lang="en-US" sz="800" i="1" u="sng" dirty="0"/>
              <a:t> </a:t>
            </a:r>
            <a:r>
              <a:rPr lang="en-US" sz="800" i="1" u="sng" dirty="0" err="1"/>
              <a:t>karcinomu</a:t>
            </a:r>
            <a:r>
              <a:rPr lang="en-US" sz="800" b="1" i="1" u="sng" dirty="0"/>
              <a:t>: </a:t>
            </a:r>
            <a:r>
              <a:rPr lang="en-US" sz="800" u="sng" dirty="0"/>
              <a:t> </a:t>
            </a:r>
            <a:r>
              <a:rPr lang="en-US" sz="800" dirty="0" err="1"/>
              <a:t>Pacienti</a:t>
            </a:r>
            <a:r>
              <a:rPr lang="en-US" sz="800" dirty="0"/>
              <a:t> </a:t>
            </a:r>
            <a:r>
              <a:rPr lang="en-US" sz="800" dirty="0" err="1"/>
              <a:t>léčení</a:t>
            </a:r>
            <a:r>
              <a:rPr lang="en-US" sz="800" dirty="0"/>
              <a:t> </a:t>
            </a:r>
            <a:r>
              <a:rPr lang="en-US" sz="800" dirty="0" err="1"/>
              <a:t>bevacizumabem</a:t>
            </a:r>
            <a:r>
              <a:rPr lang="en-US" sz="800" dirty="0"/>
              <a:t> </a:t>
            </a:r>
            <a:r>
              <a:rPr lang="en-US" sz="800" dirty="0" err="1"/>
              <a:t>mají</a:t>
            </a:r>
            <a:r>
              <a:rPr lang="en-US" sz="800" dirty="0"/>
              <a:t> </a:t>
            </a:r>
            <a:r>
              <a:rPr lang="en-US" sz="800" dirty="0" err="1"/>
              <a:t>zvýšené</a:t>
            </a:r>
            <a:r>
              <a:rPr lang="en-US" sz="800" dirty="0"/>
              <a:t> </a:t>
            </a:r>
            <a:r>
              <a:rPr lang="en-US" sz="800" dirty="0" err="1"/>
              <a:t>riziko</a:t>
            </a:r>
            <a:r>
              <a:rPr lang="en-US" sz="800" dirty="0"/>
              <a:t> </a:t>
            </a:r>
            <a:r>
              <a:rPr lang="en-US" sz="800" dirty="0" err="1"/>
              <a:t>krvácení</a:t>
            </a:r>
            <a:r>
              <a:rPr lang="en-US" sz="800" dirty="0"/>
              <a:t> a u </a:t>
            </a:r>
            <a:r>
              <a:rPr lang="en-US" sz="800" dirty="0" err="1"/>
              <a:t>pacientů</a:t>
            </a:r>
            <a:r>
              <a:rPr lang="en-US" sz="800" dirty="0"/>
              <a:t> s </a:t>
            </a:r>
            <a:r>
              <a:rPr lang="en-US" sz="800" dirty="0" err="1"/>
              <a:t>hepatocelulárním</a:t>
            </a:r>
            <a:r>
              <a:rPr lang="en-US" sz="800" dirty="0"/>
              <a:t> </a:t>
            </a:r>
            <a:r>
              <a:rPr lang="en-US" sz="800" dirty="0" err="1"/>
              <a:t>karcinomem</a:t>
            </a:r>
            <a:r>
              <a:rPr lang="en-US" sz="800" dirty="0"/>
              <a:t> (HCC) </a:t>
            </a:r>
            <a:r>
              <a:rPr lang="en-US" sz="800" dirty="0" err="1"/>
              <a:t>léčených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v </a:t>
            </a:r>
            <a:r>
              <a:rPr lang="en-US" sz="800" dirty="0" err="1"/>
              <a:t>kombinaci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 </a:t>
            </a:r>
            <a:r>
              <a:rPr lang="en-US" sz="800" dirty="0" err="1"/>
              <a:t>byly</a:t>
            </a:r>
            <a:r>
              <a:rPr lang="en-US" sz="800" dirty="0"/>
              <a:t> </a:t>
            </a:r>
            <a:r>
              <a:rPr lang="en-US" sz="800" dirty="0" err="1"/>
              <a:t>hlášeny</a:t>
            </a:r>
            <a:r>
              <a:rPr lang="en-US" sz="800" dirty="0"/>
              <a:t> </a:t>
            </a:r>
            <a:r>
              <a:rPr lang="en-US" sz="800" dirty="0" err="1"/>
              <a:t>případy</a:t>
            </a:r>
            <a:r>
              <a:rPr lang="en-US" sz="800" dirty="0"/>
              <a:t> </a:t>
            </a:r>
            <a:r>
              <a:rPr lang="en-US" sz="800" dirty="0" err="1"/>
              <a:t>těžkého</a:t>
            </a:r>
            <a:r>
              <a:rPr lang="en-US" sz="800" dirty="0"/>
              <a:t> </a:t>
            </a:r>
            <a:r>
              <a:rPr lang="en-US" sz="800" dirty="0" err="1"/>
              <a:t>gastrointestinálního</a:t>
            </a:r>
            <a:r>
              <a:rPr lang="en-US" sz="800" dirty="0"/>
              <a:t> </a:t>
            </a:r>
            <a:r>
              <a:rPr lang="en-US" sz="800" dirty="0" err="1"/>
              <a:t>krvácení</a:t>
            </a:r>
            <a:r>
              <a:rPr lang="en-US" sz="800" dirty="0"/>
              <a:t> </a:t>
            </a:r>
            <a:r>
              <a:rPr lang="en-US" sz="800" dirty="0" err="1"/>
              <a:t>včetně</a:t>
            </a:r>
            <a:r>
              <a:rPr lang="en-US" sz="800" dirty="0"/>
              <a:t> </a:t>
            </a:r>
            <a:r>
              <a:rPr lang="en-US" sz="800" dirty="0" err="1"/>
              <a:t>fatálních</a:t>
            </a:r>
            <a:r>
              <a:rPr lang="en-US" sz="800" dirty="0"/>
              <a:t> </a:t>
            </a:r>
            <a:r>
              <a:rPr lang="en-US" sz="800" dirty="0" err="1"/>
              <a:t>příhod</a:t>
            </a:r>
            <a:r>
              <a:rPr lang="en-US" sz="800" dirty="0"/>
              <a:t>. U </a:t>
            </a:r>
            <a:r>
              <a:rPr lang="en-US" sz="800" dirty="0" err="1"/>
              <a:t>pacientů</a:t>
            </a:r>
            <a:r>
              <a:rPr lang="en-US" sz="800" dirty="0"/>
              <a:t> s HCC je </a:t>
            </a:r>
            <a:r>
              <a:rPr lang="en-US" sz="800" dirty="0" err="1"/>
              <a:t>před</a:t>
            </a:r>
            <a:r>
              <a:rPr lang="en-US" sz="800" dirty="0"/>
              <a:t> </a:t>
            </a:r>
            <a:r>
              <a:rPr lang="en-US" sz="800" dirty="0" err="1"/>
              <a:t>zahájením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kombinací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 </a:t>
            </a:r>
            <a:r>
              <a:rPr lang="en-US" sz="800" dirty="0" err="1"/>
              <a:t>třeba</a:t>
            </a:r>
            <a:r>
              <a:rPr lang="en-US" sz="800" dirty="0"/>
              <a:t> </a:t>
            </a:r>
            <a:r>
              <a:rPr lang="en-US" sz="800" dirty="0" err="1"/>
              <a:t>provést</a:t>
            </a:r>
            <a:r>
              <a:rPr lang="en-US" sz="800" dirty="0"/>
              <a:t> screening </a:t>
            </a:r>
            <a:r>
              <a:rPr lang="en-US" sz="800" dirty="0" err="1"/>
              <a:t>jícnových</a:t>
            </a:r>
            <a:r>
              <a:rPr lang="en-US" sz="800" dirty="0"/>
              <a:t> </a:t>
            </a:r>
            <a:r>
              <a:rPr lang="en-US" sz="800" dirty="0" err="1"/>
              <a:t>varixů</a:t>
            </a:r>
            <a:r>
              <a:rPr lang="en-US" sz="800" dirty="0"/>
              <a:t> a </a:t>
            </a:r>
            <a:r>
              <a:rPr lang="en-US" sz="800" dirty="0" err="1"/>
              <a:t>jejich</a:t>
            </a:r>
            <a:r>
              <a:rPr lang="en-US" sz="800" dirty="0"/>
              <a:t> </a:t>
            </a:r>
            <a:r>
              <a:rPr lang="en-US" sz="800" dirty="0" err="1"/>
              <a:t>následnou</a:t>
            </a:r>
            <a:r>
              <a:rPr lang="en-US" sz="800" dirty="0"/>
              <a:t> </a:t>
            </a:r>
            <a:r>
              <a:rPr lang="en-US" sz="800" dirty="0" err="1"/>
              <a:t>léčbu</a:t>
            </a:r>
            <a:r>
              <a:rPr lang="en-US" sz="800" dirty="0"/>
              <a:t> </a:t>
            </a:r>
            <a:r>
              <a:rPr lang="en-US" sz="800" dirty="0" err="1"/>
              <a:t>dle</a:t>
            </a:r>
            <a:r>
              <a:rPr lang="en-US" sz="800" dirty="0"/>
              <a:t> </a:t>
            </a:r>
            <a:r>
              <a:rPr lang="en-US" sz="800" dirty="0" err="1"/>
              <a:t>klinické</a:t>
            </a:r>
            <a:r>
              <a:rPr lang="en-US" sz="800" dirty="0"/>
              <a:t> </a:t>
            </a:r>
            <a:r>
              <a:rPr lang="en-US" sz="800" dirty="0" err="1"/>
              <a:t>praxe</a:t>
            </a:r>
            <a:r>
              <a:rPr lang="en-US" sz="800" dirty="0"/>
              <a:t>. </a:t>
            </a:r>
            <a:r>
              <a:rPr lang="en-US" sz="800" dirty="0" err="1"/>
              <a:t>Při</a:t>
            </a:r>
            <a:r>
              <a:rPr lang="en-US" sz="800" dirty="0"/>
              <a:t>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v </a:t>
            </a:r>
            <a:r>
              <a:rPr lang="en-US" sz="800" dirty="0" err="1"/>
              <a:t>kombinaci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 se </a:t>
            </a:r>
            <a:r>
              <a:rPr lang="en-US" sz="800" dirty="0" err="1"/>
              <a:t>může</a:t>
            </a:r>
            <a:r>
              <a:rPr lang="en-US" sz="800" dirty="0"/>
              <a:t> </a:t>
            </a:r>
            <a:r>
              <a:rPr lang="en-US" sz="800" dirty="0" err="1"/>
              <a:t>rozvinout</a:t>
            </a:r>
            <a:r>
              <a:rPr lang="en-US" sz="800" dirty="0"/>
              <a:t> diabetes mellitus. Je </a:t>
            </a:r>
            <a:r>
              <a:rPr lang="en-US" sz="800" dirty="0" err="1"/>
              <a:t>třeba</a:t>
            </a:r>
            <a:r>
              <a:rPr lang="en-US" sz="800" dirty="0"/>
              <a:t>, aby </a:t>
            </a:r>
            <a:r>
              <a:rPr lang="en-US" sz="800" dirty="0" err="1"/>
              <a:t>lékaři</a:t>
            </a:r>
            <a:r>
              <a:rPr lang="en-US" sz="800" dirty="0"/>
              <a:t> </a:t>
            </a:r>
            <a:r>
              <a:rPr lang="en-US" sz="800" dirty="0" err="1"/>
              <a:t>před</a:t>
            </a:r>
            <a:r>
              <a:rPr lang="en-US" sz="800" dirty="0"/>
              <a:t> </a:t>
            </a:r>
            <a:r>
              <a:rPr lang="en-US" sz="800" dirty="0" err="1"/>
              <a:t>léčbou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v </a:t>
            </a:r>
            <a:r>
              <a:rPr lang="en-US" sz="800" dirty="0" err="1"/>
              <a:t>kombinaci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 a </a:t>
            </a:r>
            <a:r>
              <a:rPr lang="en-US" sz="800" dirty="0" err="1"/>
              <a:t>pravidelně</a:t>
            </a:r>
            <a:r>
              <a:rPr lang="en-US" sz="800" dirty="0"/>
              <a:t> </a:t>
            </a:r>
            <a:r>
              <a:rPr lang="en-US" sz="800" dirty="0" err="1"/>
              <a:t>během</a:t>
            </a:r>
            <a:r>
              <a:rPr lang="en-US" sz="800" dirty="0"/>
              <a:t> </a:t>
            </a:r>
            <a:r>
              <a:rPr lang="en-US" sz="800" dirty="0" err="1"/>
              <a:t>této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monitorovali</a:t>
            </a:r>
            <a:r>
              <a:rPr lang="en-US" sz="800" dirty="0"/>
              <a:t> </a:t>
            </a:r>
            <a:r>
              <a:rPr lang="en-US" sz="800" dirty="0" err="1"/>
              <a:t>glykémii</a:t>
            </a:r>
            <a:r>
              <a:rPr lang="en-US" sz="800" dirty="0"/>
              <a:t> </a:t>
            </a:r>
            <a:r>
              <a:rPr lang="en-US" sz="800" dirty="0" err="1"/>
              <a:t>podle</a:t>
            </a:r>
            <a:r>
              <a:rPr lang="en-US" sz="800" dirty="0"/>
              <a:t> </a:t>
            </a:r>
            <a:r>
              <a:rPr lang="en-US" sz="800" dirty="0" err="1"/>
              <a:t>klinické</a:t>
            </a:r>
            <a:r>
              <a:rPr lang="en-US" sz="800" dirty="0"/>
              <a:t> </a:t>
            </a:r>
            <a:r>
              <a:rPr lang="en-US" sz="800" dirty="0" err="1"/>
              <a:t>indikace</a:t>
            </a:r>
            <a:r>
              <a:rPr lang="en-US" sz="800" dirty="0"/>
              <a:t>. </a:t>
            </a:r>
            <a:r>
              <a:rPr lang="en-US" sz="800" i="1" u="sng" dirty="0" err="1"/>
              <a:t>Použití</a:t>
            </a:r>
            <a:r>
              <a:rPr lang="en-US" sz="800" i="1" u="sng" dirty="0"/>
              <a:t> </a:t>
            </a:r>
            <a:r>
              <a:rPr lang="en-US" sz="800" i="1" u="sng" dirty="0" err="1"/>
              <a:t>atezolizumabu</a:t>
            </a:r>
            <a:r>
              <a:rPr lang="en-US" sz="800" i="1" u="sng" dirty="0"/>
              <a:t> v </a:t>
            </a:r>
            <a:r>
              <a:rPr lang="en-US" sz="800" i="1" u="sng" dirty="0" err="1"/>
              <a:t>kombinaci</a:t>
            </a:r>
            <a:r>
              <a:rPr lang="en-US" sz="800" i="1" u="sng" dirty="0"/>
              <a:t> s nab-</a:t>
            </a:r>
            <a:r>
              <a:rPr lang="en-US" sz="800" i="1" u="sng" dirty="0" err="1"/>
              <a:t>paklitaxelem</a:t>
            </a:r>
            <a:r>
              <a:rPr lang="en-US" sz="800" i="1" u="sng" dirty="0"/>
              <a:t> u </a:t>
            </a:r>
            <a:r>
              <a:rPr lang="en-US" sz="800" i="1" u="sng" dirty="0" err="1"/>
              <a:t>metastazujícího</a:t>
            </a:r>
            <a:r>
              <a:rPr lang="en-US" sz="800" i="1" u="sng" dirty="0"/>
              <a:t> triple </a:t>
            </a:r>
            <a:r>
              <a:rPr lang="en-US" sz="800" i="1" u="sng" dirty="0" err="1"/>
              <a:t>negativního</a:t>
            </a:r>
            <a:r>
              <a:rPr lang="en-US" sz="800" i="1" u="sng" dirty="0"/>
              <a:t> </a:t>
            </a:r>
            <a:r>
              <a:rPr lang="en-US" sz="800" i="1" u="sng" dirty="0" err="1"/>
              <a:t>karcinomu</a:t>
            </a:r>
            <a:r>
              <a:rPr lang="en-US" sz="800" i="1" u="sng" dirty="0"/>
              <a:t> </a:t>
            </a:r>
            <a:r>
              <a:rPr lang="en-US" sz="800" i="1" u="sng" dirty="0" err="1"/>
              <a:t>prsu</a:t>
            </a:r>
            <a:r>
              <a:rPr lang="en-US" sz="800" i="1" u="sng" dirty="0"/>
              <a:t>: </a:t>
            </a:r>
            <a:r>
              <a:rPr lang="en-US" sz="800" dirty="0" err="1"/>
              <a:t>Neutropenie</a:t>
            </a:r>
            <a:r>
              <a:rPr lang="en-US" sz="800" dirty="0"/>
              <a:t> a </a:t>
            </a:r>
            <a:r>
              <a:rPr lang="en-US" sz="800" dirty="0" err="1"/>
              <a:t>periferní</a:t>
            </a:r>
            <a:r>
              <a:rPr lang="en-US" sz="800" dirty="0"/>
              <a:t> </a:t>
            </a:r>
            <a:r>
              <a:rPr lang="en-US" sz="800" dirty="0" err="1"/>
              <a:t>neuropatie</a:t>
            </a:r>
            <a:r>
              <a:rPr lang="en-US" sz="800" dirty="0"/>
              <a:t> </a:t>
            </a:r>
            <a:r>
              <a:rPr lang="en-US" sz="800" dirty="0" err="1"/>
              <a:t>vyskytující</a:t>
            </a:r>
            <a:r>
              <a:rPr lang="en-US" sz="800" dirty="0"/>
              <a:t> se v </a:t>
            </a:r>
            <a:r>
              <a:rPr lang="en-US" sz="800" dirty="0" err="1"/>
              <a:t>průběhu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a nab-</a:t>
            </a:r>
            <a:r>
              <a:rPr lang="en-US" sz="800" dirty="0" err="1"/>
              <a:t>paklitaxelem</a:t>
            </a:r>
            <a:r>
              <a:rPr lang="en-US" sz="800" dirty="0"/>
              <a:t> </a:t>
            </a:r>
            <a:r>
              <a:rPr lang="en-US" sz="800" dirty="0" err="1"/>
              <a:t>mohou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reverzibilní</a:t>
            </a:r>
            <a:r>
              <a:rPr lang="en-US" sz="800" dirty="0"/>
              <a:t> </a:t>
            </a:r>
            <a:r>
              <a:rPr lang="en-US" sz="800" dirty="0" err="1"/>
              <a:t>při</a:t>
            </a:r>
            <a:r>
              <a:rPr lang="en-US" sz="800" dirty="0"/>
              <a:t> </a:t>
            </a:r>
            <a:r>
              <a:rPr lang="en-US" sz="800" dirty="0" err="1"/>
              <a:t>přerušení</a:t>
            </a:r>
            <a:r>
              <a:rPr lang="en-US" sz="800" dirty="0"/>
              <a:t> </a:t>
            </a:r>
            <a:r>
              <a:rPr lang="en-US" sz="800" dirty="0" err="1"/>
              <a:t>podávání</a:t>
            </a:r>
            <a:r>
              <a:rPr lang="en-US" sz="800" dirty="0"/>
              <a:t> nab-</a:t>
            </a:r>
            <a:r>
              <a:rPr lang="en-US" sz="800" dirty="0" err="1"/>
              <a:t>paklitaxelu</a:t>
            </a:r>
            <a:r>
              <a:rPr lang="en-US" sz="800" dirty="0"/>
              <a:t>. </a:t>
            </a:r>
            <a:r>
              <a:rPr lang="en-US" sz="800" i="1" u="sng" dirty="0" err="1"/>
              <a:t>Použití</a:t>
            </a:r>
            <a:r>
              <a:rPr lang="en-US" sz="800" i="1" u="sng" dirty="0"/>
              <a:t> </a:t>
            </a:r>
            <a:r>
              <a:rPr lang="en-US" sz="800" i="1" u="sng" dirty="0" err="1"/>
              <a:t>atezolizumabu</a:t>
            </a:r>
            <a:r>
              <a:rPr lang="en-US" sz="800" i="1" u="sng" dirty="0"/>
              <a:t> v </a:t>
            </a:r>
            <a:r>
              <a:rPr lang="en-US" sz="800" i="1" u="sng" dirty="0" err="1"/>
              <a:t>kombinaci</a:t>
            </a:r>
            <a:r>
              <a:rPr lang="en-US" sz="800" i="1" u="sng" dirty="0"/>
              <a:t> s </a:t>
            </a:r>
            <a:r>
              <a:rPr lang="en-US" sz="800" i="1" u="sng" dirty="0" err="1"/>
              <a:t>bevacizumabem</a:t>
            </a:r>
            <a:r>
              <a:rPr lang="en-US" sz="800" i="1" u="sng" dirty="0"/>
              <a:t>, </a:t>
            </a:r>
            <a:r>
              <a:rPr lang="en-US" sz="800" i="1" u="sng" dirty="0" err="1"/>
              <a:t>paklitaxelem</a:t>
            </a:r>
            <a:r>
              <a:rPr lang="en-US" sz="800" i="1" u="sng" dirty="0"/>
              <a:t> a </a:t>
            </a:r>
            <a:r>
              <a:rPr lang="en-US" sz="800" i="1" u="sng" dirty="0" err="1"/>
              <a:t>karboplatinou</a:t>
            </a:r>
            <a:r>
              <a:rPr lang="en-US" sz="800" i="1" u="sng" dirty="0"/>
              <a:t> u </a:t>
            </a:r>
            <a:r>
              <a:rPr lang="en-US" sz="800" i="1" u="sng" dirty="0" err="1"/>
              <a:t>metastazujícího</a:t>
            </a:r>
            <a:r>
              <a:rPr lang="en-US" sz="800" i="1" u="sng" dirty="0"/>
              <a:t> </a:t>
            </a:r>
            <a:r>
              <a:rPr lang="en-US" sz="800" i="1" u="sng" dirty="0" err="1"/>
              <a:t>neskvamózního</a:t>
            </a:r>
            <a:r>
              <a:rPr lang="en-US" sz="800" i="1" dirty="0"/>
              <a:t> NSCLC:</a:t>
            </a:r>
            <a:r>
              <a:rPr lang="en-US" sz="800" dirty="0"/>
              <a:t> </a:t>
            </a:r>
            <a:r>
              <a:rPr lang="en-US" sz="800" dirty="0" err="1"/>
              <a:t>Pacienti</a:t>
            </a:r>
            <a:r>
              <a:rPr lang="en-US" sz="800" dirty="0"/>
              <a:t>, u </a:t>
            </a:r>
            <a:r>
              <a:rPr lang="en-US" sz="800" dirty="0" err="1"/>
              <a:t>kterých</a:t>
            </a:r>
            <a:r>
              <a:rPr lang="en-US" sz="800" dirty="0"/>
              <a:t> </a:t>
            </a:r>
            <a:r>
              <a:rPr lang="en-US" sz="800" dirty="0" err="1"/>
              <a:t>zobrazovací</a:t>
            </a:r>
            <a:r>
              <a:rPr lang="en-US" sz="800" dirty="0"/>
              <a:t> </a:t>
            </a:r>
            <a:r>
              <a:rPr lang="en-US" sz="800" dirty="0" err="1"/>
              <a:t>metody</a:t>
            </a:r>
            <a:r>
              <a:rPr lang="en-US" sz="800" dirty="0"/>
              <a:t> </a:t>
            </a:r>
            <a:r>
              <a:rPr lang="en-US" sz="800" dirty="0" err="1"/>
              <a:t>prokázaly</a:t>
            </a:r>
            <a:r>
              <a:rPr lang="en-US" sz="800" dirty="0"/>
              <a:t> </a:t>
            </a:r>
            <a:r>
              <a:rPr lang="en-US" sz="800" dirty="0" err="1"/>
              <a:t>zřetelnou</a:t>
            </a:r>
            <a:r>
              <a:rPr lang="en-US" sz="800" dirty="0"/>
              <a:t> </a:t>
            </a:r>
            <a:r>
              <a:rPr lang="en-US" sz="800" dirty="0" err="1"/>
              <a:t>infiltraci</a:t>
            </a:r>
            <a:r>
              <a:rPr lang="en-US" sz="800" dirty="0"/>
              <a:t> </a:t>
            </a:r>
            <a:r>
              <a:rPr lang="en-US" sz="800" dirty="0" err="1"/>
              <a:t>nádorových</a:t>
            </a:r>
            <a:r>
              <a:rPr lang="en-US" sz="800" dirty="0"/>
              <a:t> </a:t>
            </a:r>
            <a:r>
              <a:rPr lang="en-US" sz="800" dirty="0" err="1"/>
              <a:t>buněk</a:t>
            </a:r>
            <a:r>
              <a:rPr lang="en-US" sz="800" dirty="0"/>
              <a:t> do </a:t>
            </a:r>
            <a:r>
              <a:rPr lang="en-US" sz="800" dirty="0" err="1"/>
              <a:t>velkých</a:t>
            </a:r>
            <a:r>
              <a:rPr lang="en-US" sz="800" dirty="0"/>
              <a:t> </a:t>
            </a:r>
            <a:r>
              <a:rPr lang="en-US" sz="800" dirty="0" err="1"/>
              <a:t>hrudních</a:t>
            </a:r>
            <a:r>
              <a:rPr lang="en-US" sz="800" dirty="0"/>
              <a:t> </a:t>
            </a:r>
            <a:r>
              <a:rPr lang="en-US" sz="800" dirty="0" err="1"/>
              <a:t>cév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zřetelnou</a:t>
            </a:r>
            <a:r>
              <a:rPr lang="en-US" sz="800" dirty="0"/>
              <a:t> </a:t>
            </a:r>
            <a:r>
              <a:rPr lang="en-US" sz="800" dirty="0" err="1"/>
              <a:t>kavitaci</a:t>
            </a:r>
            <a:r>
              <a:rPr lang="en-US" sz="800" dirty="0"/>
              <a:t> </a:t>
            </a:r>
            <a:r>
              <a:rPr lang="en-US" sz="800" dirty="0" err="1"/>
              <a:t>plicních</a:t>
            </a:r>
            <a:r>
              <a:rPr lang="en-US" sz="800" dirty="0"/>
              <a:t> </a:t>
            </a:r>
            <a:r>
              <a:rPr lang="en-US" sz="800" dirty="0" err="1"/>
              <a:t>ložisek</a:t>
            </a:r>
            <a:r>
              <a:rPr lang="en-US" sz="800" dirty="0"/>
              <a:t>, </a:t>
            </a:r>
            <a:r>
              <a:rPr lang="en-US" sz="800" dirty="0" err="1"/>
              <a:t>byli</a:t>
            </a:r>
            <a:r>
              <a:rPr lang="en-US" sz="800" dirty="0"/>
              <a:t> </a:t>
            </a:r>
            <a:r>
              <a:rPr lang="en-US" sz="800" dirty="0" err="1"/>
              <a:t>vyloučeni</a:t>
            </a:r>
            <a:r>
              <a:rPr lang="en-US" sz="800" dirty="0"/>
              <a:t> z </a:t>
            </a:r>
            <a:r>
              <a:rPr lang="en-US" sz="800" dirty="0" err="1"/>
              <a:t>pivotní</a:t>
            </a:r>
            <a:r>
              <a:rPr lang="en-US" sz="800" dirty="0"/>
              <a:t> </a:t>
            </a:r>
            <a:r>
              <a:rPr lang="en-US" sz="800" dirty="0" err="1"/>
              <a:t>klinické</a:t>
            </a:r>
            <a:r>
              <a:rPr lang="en-US" sz="800" dirty="0"/>
              <a:t> </a:t>
            </a:r>
            <a:r>
              <a:rPr lang="en-US" sz="800" dirty="0" err="1"/>
              <a:t>studie</a:t>
            </a:r>
            <a:r>
              <a:rPr lang="en-US" sz="800" dirty="0"/>
              <a:t> IMpower150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zjištění</a:t>
            </a:r>
            <a:r>
              <a:rPr lang="en-US" sz="800" dirty="0"/>
              <a:t> </a:t>
            </a:r>
            <a:r>
              <a:rPr lang="en-US" sz="800" dirty="0" err="1"/>
              <a:t>několika</a:t>
            </a:r>
            <a:r>
              <a:rPr lang="en-US" sz="800" dirty="0"/>
              <a:t> </a:t>
            </a:r>
            <a:r>
              <a:rPr lang="en-US" sz="800" dirty="0" err="1"/>
              <a:t>případů</a:t>
            </a:r>
            <a:r>
              <a:rPr lang="en-US" sz="800" dirty="0"/>
              <a:t> </a:t>
            </a:r>
            <a:r>
              <a:rPr lang="en-US" sz="800" dirty="0" err="1"/>
              <a:t>fatálního</a:t>
            </a:r>
            <a:r>
              <a:rPr lang="en-US" sz="800" dirty="0"/>
              <a:t> </a:t>
            </a:r>
            <a:r>
              <a:rPr lang="en-US" sz="800" dirty="0" err="1"/>
              <a:t>krvácení</a:t>
            </a:r>
            <a:r>
              <a:rPr lang="en-US" sz="800" dirty="0"/>
              <a:t> do </a:t>
            </a:r>
            <a:r>
              <a:rPr lang="en-US" sz="800" dirty="0" err="1"/>
              <a:t>plic</a:t>
            </a:r>
            <a:r>
              <a:rPr lang="en-US" sz="800" dirty="0"/>
              <a:t>, </a:t>
            </a:r>
            <a:r>
              <a:rPr lang="en-US" sz="800" dirty="0" err="1"/>
              <a:t>které</a:t>
            </a:r>
            <a:r>
              <a:rPr lang="en-US" sz="800" dirty="0"/>
              <a:t> je </a:t>
            </a:r>
            <a:r>
              <a:rPr lang="en-US" sz="800" dirty="0" err="1"/>
              <a:t>známým</a:t>
            </a:r>
            <a:r>
              <a:rPr lang="en-US" sz="800" dirty="0"/>
              <a:t> </a:t>
            </a:r>
            <a:r>
              <a:rPr lang="en-US" sz="800" dirty="0" err="1"/>
              <a:t>rizikovým</a:t>
            </a:r>
            <a:r>
              <a:rPr lang="en-US" sz="800" dirty="0"/>
              <a:t> </a:t>
            </a:r>
            <a:r>
              <a:rPr lang="en-US" sz="800" dirty="0" err="1"/>
              <a:t>faktorem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bevacizumabem</a:t>
            </a:r>
            <a:r>
              <a:rPr lang="en-US" sz="800" dirty="0"/>
              <a:t> </a:t>
            </a:r>
            <a:r>
              <a:rPr lang="en-US" sz="800" b="1" dirty="0" err="1"/>
              <a:t>Klinicky</a:t>
            </a:r>
            <a:r>
              <a:rPr lang="en-US" sz="800" b="1" dirty="0"/>
              <a:t> </a:t>
            </a:r>
            <a:r>
              <a:rPr lang="en-US" sz="800" b="1" dirty="0" err="1"/>
              <a:t>významné</a:t>
            </a:r>
            <a:r>
              <a:rPr lang="en-US" sz="800" b="1" dirty="0"/>
              <a:t> </a:t>
            </a:r>
            <a:r>
              <a:rPr lang="en-US" sz="800" b="1" dirty="0" err="1"/>
              <a:t>interakce</a:t>
            </a:r>
            <a:r>
              <a:rPr lang="en-US" sz="800" b="1" dirty="0"/>
              <a:t>: </a:t>
            </a:r>
            <a:r>
              <a:rPr lang="en-US" sz="800" dirty="0"/>
              <a:t>S </a:t>
            </a:r>
            <a:r>
              <a:rPr lang="en-US" sz="800" dirty="0" err="1"/>
              <a:t>atezolizumabem</a:t>
            </a:r>
            <a:r>
              <a:rPr lang="en-US" sz="800" dirty="0"/>
              <a:t> </a:t>
            </a:r>
            <a:r>
              <a:rPr lang="en-US" sz="800" dirty="0" err="1"/>
              <a:t>nebyly</a:t>
            </a:r>
            <a:r>
              <a:rPr lang="en-US" sz="800" dirty="0"/>
              <a:t> </a:t>
            </a:r>
            <a:r>
              <a:rPr lang="en-US" sz="800" dirty="0" err="1"/>
              <a:t>provedeny</a:t>
            </a:r>
            <a:r>
              <a:rPr lang="en-US" sz="800" dirty="0"/>
              <a:t> </a:t>
            </a:r>
            <a:r>
              <a:rPr lang="en-US" sz="800" dirty="0" err="1"/>
              <a:t>žádné</a:t>
            </a:r>
            <a:r>
              <a:rPr lang="en-US" sz="800" dirty="0"/>
              <a:t> </a:t>
            </a:r>
            <a:r>
              <a:rPr lang="en-US" sz="800" dirty="0" err="1"/>
              <a:t>formální</a:t>
            </a:r>
            <a:r>
              <a:rPr lang="en-US" sz="800" dirty="0"/>
              <a:t> </a:t>
            </a:r>
            <a:r>
              <a:rPr lang="en-US" sz="800" dirty="0" err="1"/>
              <a:t>studie</a:t>
            </a:r>
            <a:r>
              <a:rPr lang="en-US" sz="800" dirty="0"/>
              <a:t> </a:t>
            </a:r>
            <a:r>
              <a:rPr lang="en-US" sz="800" dirty="0" err="1"/>
              <a:t>farmakokinetické</a:t>
            </a:r>
            <a:r>
              <a:rPr lang="en-US" sz="800" dirty="0"/>
              <a:t> </a:t>
            </a:r>
            <a:r>
              <a:rPr lang="en-US" sz="800" dirty="0" err="1"/>
              <a:t>lékové</a:t>
            </a:r>
            <a:r>
              <a:rPr lang="en-US" sz="800" dirty="0"/>
              <a:t> </a:t>
            </a:r>
            <a:r>
              <a:rPr lang="en-US" sz="800" dirty="0" err="1"/>
              <a:t>interakce</a:t>
            </a:r>
            <a:r>
              <a:rPr lang="en-US" sz="800" dirty="0"/>
              <a:t>. </a:t>
            </a:r>
            <a:r>
              <a:rPr lang="en-US" sz="800" dirty="0" err="1"/>
              <a:t>Protože</a:t>
            </a:r>
            <a:r>
              <a:rPr lang="en-US" sz="800" dirty="0"/>
              <a:t> se </a:t>
            </a:r>
            <a:r>
              <a:rPr lang="en-US" sz="800" dirty="0" err="1"/>
              <a:t>atezolizumab</a:t>
            </a:r>
            <a:r>
              <a:rPr lang="en-US" sz="800" dirty="0"/>
              <a:t> z </a:t>
            </a:r>
            <a:r>
              <a:rPr lang="en-US" sz="800" dirty="0" err="1"/>
              <a:t>cirkulace</a:t>
            </a:r>
            <a:r>
              <a:rPr lang="en-US" sz="800" dirty="0"/>
              <a:t> </a:t>
            </a:r>
            <a:r>
              <a:rPr lang="en-US" sz="800" dirty="0" err="1"/>
              <a:t>odstraňuje</a:t>
            </a:r>
            <a:r>
              <a:rPr lang="en-US" sz="800" dirty="0"/>
              <a:t> </a:t>
            </a:r>
            <a:r>
              <a:rPr lang="en-US" sz="800" dirty="0" err="1"/>
              <a:t>katabolismem</a:t>
            </a:r>
            <a:r>
              <a:rPr lang="en-US" sz="800" dirty="0"/>
              <a:t>, </a:t>
            </a:r>
            <a:r>
              <a:rPr lang="en-US" sz="800" dirty="0" err="1"/>
              <a:t>neočekávají</a:t>
            </a:r>
            <a:r>
              <a:rPr lang="en-US" sz="800" dirty="0"/>
              <a:t> se </a:t>
            </a:r>
            <a:r>
              <a:rPr lang="en-US" sz="800" dirty="0" err="1"/>
              <a:t>žádné</a:t>
            </a:r>
            <a:r>
              <a:rPr lang="en-US" sz="800" dirty="0"/>
              <a:t> </a:t>
            </a:r>
            <a:r>
              <a:rPr lang="en-US" sz="800" dirty="0" err="1"/>
              <a:t>metabolické</a:t>
            </a:r>
            <a:r>
              <a:rPr lang="en-US" sz="800" dirty="0"/>
              <a:t> </a:t>
            </a:r>
            <a:r>
              <a:rPr lang="en-US" sz="800" dirty="0" err="1"/>
              <a:t>lékové</a:t>
            </a:r>
            <a:r>
              <a:rPr lang="en-US" sz="800" dirty="0"/>
              <a:t> </a:t>
            </a:r>
            <a:r>
              <a:rPr lang="en-US" sz="800" dirty="0" err="1"/>
              <a:t>interakce</a:t>
            </a:r>
            <a:r>
              <a:rPr lang="en-US" sz="800" dirty="0"/>
              <a:t>. </a:t>
            </a:r>
            <a:r>
              <a:rPr lang="en-US" sz="800" dirty="0" err="1"/>
              <a:t>Před</a:t>
            </a:r>
            <a:r>
              <a:rPr lang="en-US" sz="800" dirty="0"/>
              <a:t> </a:t>
            </a:r>
            <a:r>
              <a:rPr lang="en-US" sz="800" dirty="0" err="1"/>
              <a:t>zahájením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je </a:t>
            </a:r>
            <a:r>
              <a:rPr lang="en-US" sz="800" dirty="0" err="1"/>
              <a:t>třeba</a:t>
            </a:r>
            <a:r>
              <a:rPr lang="en-US" sz="800" dirty="0"/>
              <a:t> se </a:t>
            </a:r>
            <a:r>
              <a:rPr lang="en-US" sz="800" dirty="0" err="1"/>
              <a:t>vyvarovat</a:t>
            </a:r>
            <a:r>
              <a:rPr lang="en-US" sz="800" dirty="0"/>
              <a:t> </a:t>
            </a:r>
            <a:r>
              <a:rPr lang="en-US" sz="800" dirty="0" err="1"/>
              <a:t>užívání</a:t>
            </a:r>
            <a:r>
              <a:rPr lang="en-US" sz="800" dirty="0"/>
              <a:t> </a:t>
            </a:r>
            <a:r>
              <a:rPr lang="en-US" sz="800" dirty="0" err="1"/>
              <a:t>systémových</a:t>
            </a:r>
            <a:r>
              <a:rPr lang="en-US" sz="800" dirty="0"/>
              <a:t> </a:t>
            </a:r>
            <a:r>
              <a:rPr lang="en-US" sz="800" dirty="0" err="1"/>
              <a:t>kortikosteroidů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imunosupresiv</a:t>
            </a:r>
            <a:r>
              <a:rPr lang="en-US" sz="800" dirty="0"/>
              <a:t>. </a:t>
            </a:r>
            <a:r>
              <a:rPr lang="en-US" sz="800" dirty="0" err="1"/>
              <a:t>Systémové</a:t>
            </a:r>
            <a:r>
              <a:rPr lang="en-US" sz="800" dirty="0"/>
              <a:t> </a:t>
            </a:r>
            <a:r>
              <a:rPr lang="en-US" sz="800" dirty="0" err="1"/>
              <a:t>kortikosteroidy</a:t>
            </a:r>
            <a:r>
              <a:rPr lang="en-US" sz="800" dirty="0"/>
              <a:t> a </a:t>
            </a:r>
            <a:r>
              <a:rPr lang="en-US" sz="800" dirty="0" err="1"/>
              <a:t>imunosupresiva</a:t>
            </a:r>
            <a:r>
              <a:rPr lang="en-US" sz="800" dirty="0"/>
              <a:t> ale </a:t>
            </a:r>
            <a:r>
              <a:rPr lang="en-US" sz="800" dirty="0" err="1"/>
              <a:t>lze</a:t>
            </a:r>
            <a:r>
              <a:rPr lang="en-US" sz="800" dirty="0"/>
              <a:t> </a:t>
            </a:r>
            <a:r>
              <a:rPr lang="en-US" sz="800" dirty="0" err="1"/>
              <a:t>použít</a:t>
            </a:r>
            <a:r>
              <a:rPr lang="en-US" sz="800" dirty="0"/>
              <a:t> k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imunitně</a:t>
            </a:r>
            <a:r>
              <a:rPr lang="en-US" sz="800" dirty="0"/>
              <a:t> </a:t>
            </a:r>
            <a:r>
              <a:rPr lang="en-US" sz="800" dirty="0" err="1"/>
              <a:t>podmíněných</a:t>
            </a:r>
            <a:r>
              <a:rPr lang="en-US" sz="800" dirty="0"/>
              <a:t> </a:t>
            </a:r>
            <a:r>
              <a:rPr lang="en-US" sz="800" dirty="0" err="1"/>
              <a:t>nežádoucích</a:t>
            </a:r>
            <a:r>
              <a:rPr lang="en-US" sz="800" dirty="0"/>
              <a:t> </a:t>
            </a:r>
            <a:r>
              <a:rPr lang="en-US" sz="800" dirty="0" err="1"/>
              <a:t>účinků</a:t>
            </a:r>
            <a:r>
              <a:rPr lang="en-US" sz="800" dirty="0"/>
              <a:t>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zahájení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. </a:t>
            </a:r>
            <a:r>
              <a:rPr lang="en-US" sz="800" b="1" dirty="0" err="1"/>
              <a:t>Hlavní</a:t>
            </a:r>
            <a:r>
              <a:rPr lang="en-US" sz="800" b="1" dirty="0"/>
              <a:t> </a:t>
            </a:r>
            <a:r>
              <a:rPr lang="en-US" sz="800" b="1" dirty="0" err="1"/>
              <a:t>klinicky</a:t>
            </a:r>
            <a:r>
              <a:rPr lang="en-US" sz="800" b="1" dirty="0"/>
              <a:t> </a:t>
            </a:r>
            <a:r>
              <a:rPr lang="en-US" sz="800" b="1" dirty="0" err="1"/>
              <a:t>významné</a:t>
            </a:r>
            <a:r>
              <a:rPr lang="en-US" sz="800" b="1" dirty="0"/>
              <a:t> </a:t>
            </a:r>
            <a:r>
              <a:rPr lang="en-US" sz="800" b="1" dirty="0" err="1"/>
              <a:t>nežádoucí</a:t>
            </a:r>
            <a:r>
              <a:rPr lang="en-US" sz="800" b="1" dirty="0"/>
              <a:t> </a:t>
            </a:r>
            <a:r>
              <a:rPr lang="en-US" sz="800" b="1" dirty="0" err="1"/>
              <a:t>účinky</a:t>
            </a:r>
            <a:r>
              <a:rPr lang="en-US" sz="800" b="1" dirty="0"/>
              <a:t>:</a:t>
            </a:r>
            <a:r>
              <a:rPr lang="en-US" sz="800" dirty="0"/>
              <a:t> </a:t>
            </a:r>
            <a:r>
              <a:rPr lang="en-US" sz="800" dirty="0" err="1"/>
              <a:t>Nejčastějšími</a:t>
            </a:r>
            <a:r>
              <a:rPr lang="en-US" sz="800" dirty="0"/>
              <a:t> </a:t>
            </a:r>
            <a:r>
              <a:rPr lang="en-US" sz="800" dirty="0" err="1"/>
              <a:t>nežádoucími</a:t>
            </a:r>
            <a:r>
              <a:rPr lang="en-US" sz="800" dirty="0"/>
              <a:t> </a:t>
            </a:r>
            <a:r>
              <a:rPr lang="en-US" sz="800" dirty="0" err="1"/>
              <a:t>účinky</a:t>
            </a:r>
            <a:r>
              <a:rPr lang="en-US" sz="800" dirty="0"/>
              <a:t> (&gt; 10 %) </a:t>
            </a:r>
            <a:r>
              <a:rPr lang="en-US" sz="800" dirty="0" err="1"/>
              <a:t>monoterapie</a:t>
            </a:r>
            <a:r>
              <a:rPr lang="en-US" sz="800" dirty="0"/>
              <a:t> </a:t>
            </a:r>
            <a:r>
              <a:rPr lang="en-US" sz="800" dirty="0" err="1"/>
              <a:t>byly</a:t>
            </a:r>
            <a:r>
              <a:rPr lang="en-US" sz="800" dirty="0"/>
              <a:t> </a:t>
            </a:r>
            <a:r>
              <a:rPr lang="en-US" sz="800" dirty="0" err="1"/>
              <a:t>únava</a:t>
            </a:r>
            <a:r>
              <a:rPr lang="en-US" sz="800" dirty="0"/>
              <a:t>, </a:t>
            </a:r>
            <a:r>
              <a:rPr lang="en-US" sz="800" dirty="0" err="1"/>
              <a:t>snížená</a:t>
            </a:r>
            <a:r>
              <a:rPr lang="en-US" sz="800" dirty="0"/>
              <a:t> </a:t>
            </a:r>
            <a:r>
              <a:rPr lang="en-US" sz="800" dirty="0" err="1"/>
              <a:t>chuť</a:t>
            </a:r>
            <a:r>
              <a:rPr lang="en-US" sz="800" dirty="0"/>
              <a:t> k </a:t>
            </a:r>
            <a:r>
              <a:rPr lang="en-US" sz="800" dirty="0" err="1"/>
              <a:t>jídlu</a:t>
            </a:r>
            <a:r>
              <a:rPr lang="en-US" sz="800" dirty="0"/>
              <a:t>, </a:t>
            </a:r>
            <a:r>
              <a:rPr lang="en-US" sz="800" dirty="0" err="1"/>
              <a:t>nauzea</a:t>
            </a:r>
            <a:r>
              <a:rPr lang="en-US" sz="800" dirty="0"/>
              <a:t>, </a:t>
            </a:r>
            <a:r>
              <a:rPr lang="en-US" sz="800" dirty="0" err="1"/>
              <a:t>vyrážka</a:t>
            </a:r>
            <a:r>
              <a:rPr lang="en-US" sz="800" dirty="0"/>
              <a:t>, </a:t>
            </a:r>
            <a:r>
              <a:rPr lang="en-US" sz="800" dirty="0" err="1"/>
              <a:t>horečka</a:t>
            </a:r>
            <a:r>
              <a:rPr lang="en-US" sz="800" dirty="0"/>
              <a:t>, </a:t>
            </a:r>
            <a:r>
              <a:rPr lang="en-US" sz="800" dirty="0" err="1"/>
              <a:t>kašel</a:t>
            </a:r>
            <a:r>
              <a:rPr lang="en-US" sz="800" dirty="0"/>
              <a:t>,  </a:t>
            </a:r>
            <a:r>
              <a:rPr lang="en-US" sz="800" dirty="0" err="1"/>
              <a:t>průjem</a:t>
            </a:r>
            <a:r>
              <a:rPr lang="en-US" sz="800" dirty="0"/>
              <a:t>, </a:t>
            </a:r>
            <a:r>
              <a:rPr lang="en-US" sz="800" dirty="0" err="1"/>
              <a:t>dušnost</a:t>
            </a:r>
            <a:r>
              <a:rPr lang="en-US" sz="800" dirty="0"/>
              <a:t>, </a:t>
            </a:r>
            <a:r>
              <a:rPr lang="en-US" sz="800" dirty="0" err="1"/>
              <a:t>artralgie</a:t>
            </a:r>
            <a:r>
              <a:rPr lang="en-US" sz="800" dirty="0"/>
              <a:t>, </a:t>
            </a:r>
            <a:r>
              <a:rPr lang="en-US" sz="800" dirty="0" err="1"/>
              <a:t>astenie</a:t>
            </a:r>
            <a:r>
              <a:rPr lang="en-US" sz="800" dirty="0"/>
              <a:t>, </a:t>
            </a:r>
            <a:r>
              <a:rPr lang="en-US" sz="800" dirty="0" err="1"/>
              <a:t>bolest</a:t>
            </a:r>
            <a:r>
              <a:rPr lang="en-US" sz="800" dirty="0"/>
              <a:t> </a:t>
            </a:r>
            <a:r>
              <a:rPr lang="en-US" sz="800" dirty="0" err="1"/>
              <a:t>zad</a:t>
            </a:r>
            <a:r>
              <a:rPr lang="en-US" sz="800" dirty="0"/>
              <a:t>, </a:t>
            </a:r>
            <a:r>
              <a:rPr lang="en-US" sz="800" dirty="0" err="1"/>
              <a:t>zvracení</a:t>
            </a:r>
            <a:r>
              <a:rPr lang="en-US" sz="800" dirty="0"/>
              <a:t>, </a:t>
            </a:r>
            <a:r>
              <a:rPr lang="en-US" sz="800" dirty="0" err="1"/>
              <a:t>infekce</a:t>
            </a:r>
            <a:r>
              <a:rPr lang="en-US" sz="800" dirty="0"/>
              <a:t> </a:t>
            </a:r>
            <a:r>
              <a:rPr lang="en-US" sz="800" dirty="0" err="1"/>
              <a:t>močových</a:t>
            </a:r>
            <a:r>
              <a:rPr lang="en-US" sz="800" dirty="0"/>
              <a:t> </a:t>
            </a:r>
            <a:r>
              <a:rPr lang="en-US" sz="800" dirty="0" err="1"/>
              <a:t>cest</a:t>
            </a:r>
            <a:r>
              <a:rPr lang="en-US" sz="800" dirty="0"/>
              <a:t> a </a:t>
            </a:r>
            <a:r>
              <a:rPr lang="en-US" sz="800" dirty="0" err="1"/>
              <a:t>bolest</a:t>
            </a:r>
            <a:r>
              <a:rPr lang="en-US" sz="800" dirty="0"/>
              <a:t> </a:t>
            </a:r>
            <a:r>
              <a:rPr lang="en-US" sz="800" dirty="0" err="1"/>
              <a:t>hlavy</a:t>
            </a:r>
            <a:r>
              <a:rPr lang="en-US" sz="800" dirty="0"/>
              <a:t>. </a:t>
            </a:r>
            <a:r>
              <a:rPr lang="en-US" sz="800" dirty="0" err="1"/>
              <a:t>Nejčastějšími</a:t>
            </a:r>
            <a:r>
              <a:rPr lang="en-US" sz="800" dirty="0"/>
              <a:t> </a:t>
            </a:r>
            <a:r>
              <a:rPr lang="en-US" sz="800" dirty="0" err="1"/>
              <a:t>nežádoucími</a:t>
            </a:r>
            <a:r>
              <a:rPr lang="en-US" sz="800" dirty="0"/>
              <a:t> </a:t>
            </a:r>
            <a:r>
              <a:rPr lang="en-US" sz="800" dirty="0" err="1"/>
              <a:t>účinky</a:t>
            </a:r>
            <a:r>
              <a:rPr lang="en-US" sz="800" dirty="0"/>
              <a:t> (≥ 20 %) </a:t>
            </a:r>
            <a:r>
              <a:rPr lang="en-US" sz="800" dirty="0" err="1"/>
              <a:t>atezolizumabu</a:t>
            </a:r>
            <a:r>
              <a:rPr lang="en-US" sz="800" dirty="0"/>
              <a:t> v </a:t>
            </a:r>
            <a:r>
              <a:rPr lang="en-US" sz="800" dirty="0" err="1"/>
              <a:t>kombinaci</a:t>
            </a:r>
            <a:r>
              <a:rPr lang="en-US" sz="800" dirty="0"/>
              <a:t> s </a:t>
            </a:r>
            <a:r>
              <a:rPr lang="en-US" sz="800" dirty="0" err="1"/>
              <a:t>jinými</a:t>
            </a:r>
            <a:r>
              <a:rPr lang="en-US" sz="800" dirty="0"/>
              <a:t> </a:t>
            </a:r>
            <a:r>
              <a:rPr lang="en-US" sz="800" dirty="0" err="1"/>
              <a:t>léčivými</a:t>
            </a:r>
            <a:r>
              <a:rPr lang="en-US" sz="800" dirty="0"/>
              <a:t> </a:t>
            </a:r>
            <a:r>
              <a:rPr lang="en-US" sz="800" dirty="0" err="1"/>
              <a:t>přípravky</a:t>
            </a:r>
            <a:r>
              <a:rPr lang="en-US" sz="800" dirty="0"/>
              <a:t> </a:t>
            </a:r>
            <a:r>
              <a:rPr lang="en-US" sz="800" dirty="0" err="1"/>
              <a:t>byly</a:t>
            </a:r>
            <a:r>
              <a:rPr lang="en-US" sz="800" dirty="0"/>
              <a:t> u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různým</a:t>
            </a:r>
            <a:r>
              <a:rPr lang="en-US" sz="800" dirty="0"/>
              <a:t> </a:t>
            </a:r>
            <a:r>
              <a:rPr lang="en-US" sz="800" dirty="0" err="1"/>
              <a:t>typem</a:t>
            </a:r>
            <a:r>
              <a:rPr lang="en-US" sz="800" dirty="0"/>
              <a:t> </a:t>
            </a:r>
            <a:r>
              <a:rPr lang="en-US" sz="800" dirty="0" err="1"/>
              <a:t>nádorů</a:t>
            </a:r>
            <a:r>
              <a:rPr lang="en-US" sz="800" dirty="0"/>
              <a:t> </a:t>
            </a:r>
            <a:r>
              <a:rPr lang="en-US" sz="800" dirty="0" err="1"/>
              <a:t>anémie</a:t>
            </a:r>
            <a:r>
              <a:rPr lang="en-US" sz="800" dirty="0"/>
              <a:t>, </a:t>
            </a:r>
            <a:r>
              <a:rPr lang="en-US" sz="800" dirty="0" err="1"/>
              <a:t>neutropenie</a:t>
            </a:r>
            <a:r>
              <a:rPr lang="en-US" sz="800" dirty="0"/>
              <a:t>, </a:t>
            </a:r>
            <a:r>
              <a:rPr lang="en-US" sz="800" dirty="0" err="1"/>
              <a:t>nauzea</a:t>
            </a:r>
            <a:r>
              <a:rPr lang="en-US" sz="800" dirty="0"/>
              <a:t>, </a:t>
            </a:r>
            <a:r>
              <a:rPr lang="en-US" sz="800" dirty="0" err="1"/>
              <a:t>únava</a:t>
            </a:r>
            <a:r>
              <a:rPr lang="en-US" sz="800" dirty="0"/>
              <a:t>, </a:t>
            </a:r>
            <a:r>
              <a:rPr lang="en-US" sz="800" dirty="0" err="1"/>
              <a:t>alopecie</a:t>
            </a:r>
            <a:r>
              <a:rPr lang="en-US" sz="800" dirty="0"/>
              <a:t>, </a:t>
            </a:r>
            <a:r>
              <a:rPr lang="en-US" sz="800" dirty="0" err="1"/>
              <a:t>vyrážka</a:t>
            </a:r>
            <a:r>
              <a:rPr lang="en-US" sz="800" dirty="0"/>
              <a:t>, </a:t>
            </a:r>
            <a:r>
              <a:rPr lang="en-US" sz="800" dirty="0" err="1"/>
              <a:t>průjem</a:t>
            </a:r>
            <a:r>
              <a:rPr lang="en-US" sz="800" dirty="0"/>
              <a:t>, </a:t>
            </a:r>
            <a:r>
              <a:rPr lang="en-US" sz="800" dirty="0" err="1"/>
              <a:t>trombocytopenie</a:t>
            </a:r>
            <a:r>
              <a:rPr lang="en-US" sz="800" dirty="0"/>
              <a:t>, </a:t>
            </a:r>
            <a:r>
              <a:rPr lang="en-US" sz="800" dirty="0" err="1"/>
              <a:t>zácpa</a:t>
            </a:r>
            <a:r>
              <a:rPr lang="en-US" sz="800" dirty="0"/>
              <a:t>, </a:t>
            </a:r>
            <a:r>
              <a:rPr lang="en-US" sz="800" dirty="0" err="1"/>
              <a:t>snížená</a:t>
            </a:r>
            <a:r>
              <a:rPr lang="en-US" sz="800" dirty="0"/>
              <a:t> </a:t>
            </a:r>
            <a:r>
              <a:rPr lang="en-US" sz="800" dirty="0" err="1"/>
              <a:t>chuť</a:t>
            </a:r>
            <a:r>
              <a:rPr lang="en-US" sz="800" dirty="0"/>
              <a:t> k </a:t>
            </a:r>
            <a:r>
              <a:rPr lang="en-US" sz="800" dirty="0" err="1"/>
              <a:t>jídlu</a:t>
            </a:r>
            <a:r>
              <a:rPr lang="en-US" sz="800" dirty="0"/>
              <a:t> a </a:t>
            </a:r>
            <a:r>
              <a:rPr lang="en-US" sz="800" dirty="0" err="1"/>
              <a:t>periferní</a:t>
            </a:r>
            <a:r>
              <a:rPr lang="en-US" sz="800" dirty="0"/>
              <a:t> </a:t>
            </a:r>
            <a:r>
              <a:rPr lang="en-US" sz="800" dirty="0" err="1"/>
              <a:t>neuropatie</a:t>
            </a:r>
            <a:r>
              <a:rPr lang="en-US" sz="800" dirty="0"/>
              <a:t>. </a:t>
            </a:r>
            <a:r>
              <a:rPr lang="en-US" sz="800" dirty="0" err="1"/>
              <a:t>Imunitně</a:t>
            </a:r>
            <a:r>
              <a:rPr lang="en-US" sz="800" dirty="0"/>
              <a:t> </a:t>
            </a:r>
            <a:r>
              <a:rPr lang="en-US" sz="800" dirty="0" err="1"/>
              <a:t>podmíněné</a:t>
            </a:r>
            <a:r>
              <a:rPr lang="en-US" sz="800" dirty="0"/>
              <a:t> </a:t>
            </a:r>
            <a:r>
              <a:rPr lang="en-US" sz="800" dirty="0" err="1"/>
              <a:t>nežádoucí</a:t>
            </a:r>
            <a:r>
              <a:rPr lang="en-US" sz="800" dirty="0"/>
              <a:t> </a:t>
            </a:r>
            <a:r>
              <a:rPr lang="en-US" sz="800" dirty="0" err="1"/>
              <a:t>účinky</a:t>
            </a:r>
            <a:r>
              <a:rPr lang="en-US" sz="800" dirty="0"/>
              <a:t>, </a:t>
            </a:r>
            <a:r>
              <a:rPr lang="en-US" sz="800" dirty="0" err="1"/>
              <a:t>které</a:t>
            </a:r>
            <a:r>
              <a:rPr lang="en-US" sz="800" dirty="0"/>
              <a:t> se </a:t>
            </a:r>
            <a:r>
              <a:rPr lang="en-US" sz="800" dirty="0" err="1"/>
              <a:t>vyskytly</a:t>
            </a:r>
            <a:r>
              <a:rPr lang="en-US" sz="800" dirty="0"/>
              <a:t> u &lt; 10 % </a:t>
            </a:r>
            <a:r>
              <a:rPr lang="en-US" sz="800" dirty="0" err="1"/>
              <a:t>pacientů</a:t>
            </a:r>
            <a:r>
              <a:rPr lang="en-US" sz="800" dirty="0"/>
              <a:t>, </a:t>
            </a:r>
            <a:r>
              <a:rPr lang="en-US" sz="800" dirty="0" err="1"/>
              <a:t>zahrnovaly</a:t>
            </a:r>
            <a:r>
              <a:rPr lang="en-US" sz="800" dirty="0"/>
              <a:t> </a:t>
            </a:r>
            <a:r>
              <a:rPr lang="en-US" sz="800" dirty="0" err="1"/>
              <a:t>hypotyreózu</a:t>
            </a:r>
            <a:r>
              <a:rPr lang="en-US" sz="800" dirty="0"/>
              <a:t>. U &lt; 5 % </a:t>
            </a:r>
            <a:r>
              <a:rPr lang="en-US" sz="800" dirty="0" err="1"/>
              <a:t>pacientů</a:t>
            </a:r>
            <a:r>
              <a:rPr lang="en-US" sz="800" dirty="0"/>
              <a:t> se </a:t>
            </a:r>
            <a:r>
              <a:rPr lang="en-US" sz="800" dirty="0" err="1"/>
              <a:t>vyskytly</a:t>
            </a:r>
            <a:r>
              <a:rPr lang="en-US" sz="800" dirty="0"/>
              <a:t>: </a:t>
            </a:r>
            <a:r>
              <a:rPr lang="en-US" sz="800" dirty="0" err="1"/>
              <a:t>pneumonitida</a:t>
            </a:r>
            <a:r>
              <a:rPr lang="en-US" sz="800" dirty="0"/>
              <a:t>, </a:t>
            </a:r>
            <a:r>
              <a:rPr lang="en-US" sz="800" dirty="0" err="1"/>
              <a:t>kolitida</a:t>
            </a:r>
            <a:r>
              <a:rPr lang="en-US" sz="800" dirty="0"/>
              <a:t>, </a:t>
            </a:r>
            <a:r>
              <a:rPr lang="en-US" sz="800" dirty="0" err="1"/>
              <a:t>hepatitida</a:t>
            </a:r>
            <a:r>
              <a:rPr lang="en-US" sz="800" dirty="0"/>
              <a:t>, diabetes mellitus (u </a:t>
            </a:r>
            <a:r>
              <a:rPr lang="en-US" sz="800" dirty="0" err="1"/>
              <a:t>pacientů</a:t>
            </a:r>
            <a:r>
              <a:rPr lang="en-US" sz="800" dirty="0"/>
              <a:t> s HCC,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dostávali</a:t>
            </a:r>
            <a:r>
              <a:rPr lang="en-US" sz="800" dirty="0"/>
              <a:t> </a:t>
            </a:r>
            <a:r>
              <a:rPr lang="en-US" sz="800" dirty="0" err="1"/>
              <a:t>atezolizumab</a:t>
            </a:r>
            <a:r>
              <a:rPr lang="en-US" sz="800" dirty="0"/>
              <a:t> v </a:t>
            </a:r>
            <a:r>
              <a:rPr lang="en-US" sz="800" dirty="0" err="1"/>
              <a:t>kombinaci</a:t>
            </a:r>
            <a:r>
              <a:rPr lang="en-US" sz="800" dirty="0"/>
              <a:t> s </a:t>
            </a:r>
            <a:r>
              <a:rPr lang="en-US" sz="800" dirty="0" err="1"/>
              <a:t>bevacizumabem</a:t>
            </a:r>
            <a:r>
              <a:rPr lang="en-US" sz="800" dirty="0"/>
              <a:t>) a </a:t>
            </a:r>
            <a:r>
              <a:rPr lang="en-US" sz="800" dirty="0" err="1"/>
              <a:t>hypertyreóza</a:t>
            </a:r>
            <a:r>
              <a:rPr lang="en-US" sz="800" i="1" dirty="0"/>
              <a:t>.</a:t>
            </a:r>
            <a:r>
              <a:rPr lang="en-US" sz="800" dirty="0"/>
              <a:t> U &lt; 1 % </a:t>
            </a:r>
            <a:r>
              <a:rPr lang="en-US" sz="800" dirty="0" err="1"/>
              <a:t>pacientů</a:t>
            </a:r>
            <a:r>
              <a:rPr lang="en-US" sz="800" dirty="0"/>
              <a:t> se </a:t>
            </a:r>
            <a:r>
              <a:rPr lang="en-US" sz="800" dirty="0" err="1"/>
              <a:t>vyskytly</a:t>
            </a:r>
            <a:r>
              <a:rPr lang="en-US" sz="800" dirty="0"/>
              <a:t>: </a:t>
            </a:r>
            <a:r>
              <a:rPr lang="en-US" sz="800" dirty="0" err="1"/>
              <a:t>insuficience</a:t>
            </a:r>
            <a:r>
              <a:rPr lang="en-US" sz="800" dirty="0"/>
              <a:t> </a:t>
            </a:r>
            <a:r>
              <a:rPr lang="en-US" sz="800" dirty="0" err="1"/>
              <a:t>nadledvin</a:t>
            </a:r>
            <a:r>
              <a:rPr lang="en-US" sz="800" dirty="0"/>
              <a:t>, </a:t>
            </a:r>
            <a:r>
              <a:rPr lang="en-US" sz="800" dirty="0" err="1"/>
              <a:t>zánět</a:t>
            </a:r>
            <a:r>
              <a:rPr lang="en-US" sz="800" dirty="0"/>
              <a:t> </a:t>
            </a:r>
            <a:r>
              <a:rPr lang="en-US" sz="800" dirty="0" err="1"/>
              <a:t>hypofýzy</a:t>
            </a:r>
            <a:r>
              <a:rPr lang="en-US" sz="800" dirty="0"/>
              <a:t>, diabetes mellitus (</a:t>
            </a:r>
            <a:r>
              <a:rPr lang="en-US" sz="800" dirty="0" err="1"/>
              <a:t>při</a:t>
            </a:r>
            <a:r>
              <a:rPr lang="en-US" sz="800" dirty="0"/>
              <a:t> </a:t>
            </a:r>
            <a:r>
              <a:rPr lang="en-US" sz="800" dirty="0" err="1"/>
              <a:t>podání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v </a:t>
            </a:r>
            <a:r>
              <a:rPr lang="en-US" sz="800" dirty="0" err="1"/>
              <a:t>monoterapii</a:t>
            </a:r>
            <a:r>
              <a:rPr lang="en-US" sz="800" dirty="0"/>
              <a:t>),  </a:t>
            </a:r>
            <a:r>
              <a:rPr lang="en-US" sz="800" dirty="0" err="1"/>
              <a:t>meningoencefalitida</a:t>
            </a:r>
            <a:r>
              <a:rPr lang="en-US" sz="800" dirty="0"/>
              <a:t>, </a:t>
            </a:r>
            <a:r>
              <a:rPr lang="en-US" sz="800" dirty="0" err="1"/>
              <a:t>neuropatie</a:t>
            </a:r>
            <a:r>
              <a:rPr lang="en-US" sz="800" dirty="0"/>
              <a:t>, </a:t>
            </a:r>
            <a:r>
              <a:rPr lang="en-US" sz="800" dirty="0" err="1"/>
              <a:t>myastenický</a:t>
            </a:r>
            <a:r>
              <a:rPr lang="en-US" sz="800" dirty="0"/>
              <a:t> </a:t>
            </a:r>
            <a:r>
              <a:rPr lang="en-US" sz="800" dirty="0" err="1"/>
              <a:t>syndrom</a:t>
            </a:r>
            <a:r>
              <a:rPr lang="en-US" sz="800" dirty="0"/>
              <a:t>, </a:t>
            </a:r>
            <a:r>
              <a:rPr lang="en-US" sz="800" dirty="0" err="1"/>
              <a:t>pankreatitida</a:t>
            </a:r>
            <a:r>
              <a:rPr lang="en-US" sz="800" dirty="0"/>
              <a:t>, </a:t>
            </a:r>
            <a:r>
              <a:rPr lang="en-US" sz="800" dirty="0" err="1"/>
              <a:t>myokarditida</a:t>
            </a:r>
            <a:r>
              <a:rPr lang="en-US" sz="800" dirty="0"/>
              <a:t>, </a:t>
            </a:r>
            <a:r>
              <a:rPr lang="en-US" sz="800" dirty="0" err="1"/>
              <a:t>nefritida</a:t>
            </a:r>
            <a:r>
              <a:rPr lang="en-US" sz="800" dirty="0"/>
              <a:t>, </a:t>
            </a:r>
            <a:r>
              <a:rPr lang="en-US" sz="800" dirty="0" err="1"/>
              <a:t>myozitida</a:t>
            </a:r>
            <a:r>
              <a:rPr lang="en-US" sz="800" dirty="0"/>
              <a:t> a </a:t>
            </a:r>
            <a:r>
              <a:rPr lang="en-US" sz="800" dirty="0" err="1"/>
              <a:t>těžké</a:t>
            </a:r>
            <a:r>
              <a:rPr lang="en-US" sz="800" dirty="0"/>
              <a:t> </a:t>
            </a:r>
            <a:r>
              <a:rPr lang="en-US" sz="800" dirty="0" err="1"/>
              <a:t>kožní</a:t>
            </a:r>
            <a:r>
              <a:rPr lang="en-US" sz="800" dirty="0"/>
              <a:t> </a:t>
            </a:r>
            <a:r>
              <a:rPr lang="en-US" sz="800" dirty="0" err="1"/>
              <a:t>nežádoucí</a:t>
            </a:r>
            <a:r>
              <a:rPr lang="en-US" sz="800" dirty="0"/>
              <a:t> </a:t>
            </a:r>
            <a:r>
              <a:rPr lang="en-US" sz="800" dirty="0" err="1"/>
              <a:t>účinky</a:t>
            </a:r>
            <a:r>
              <a:rPr lang="en-US" sz="800" dirty="0"/>
              <a:t>. </a:t>
            </a:r>
            <a:r>
              <a:rPr lang="en-US" sz="800" dirty="0" err="1"/>
              <a:t>Vzhledem</a:t>
            </a:r>
            <a:r>
              <a:rPr lang="en-US" sz="800" dirty="0"/>
              <a:t> k </a:t>
            </a:r>
            <a:r>
              <a:rPr lang="en-US" sz="800" dirty="0" err="1"/>
              <a:t>mechanismu</a:t>
            </a:r>
            <a:r>
              <a:rPr lang="en-US" sz="800" dirty="0"/>
              <a:t> </a:t>
            </a:r>
            <a:r>
              <a:rPr lang="en-US" sz="800" dirty="0" err="1"/>
              <a:t>účinku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se </a:t>
            </a:r>
            <a:r>
              <a:rPr lang="en-US" sz="800" dirty="0" err="1"/>
              <a:t>mohou</a:t>
            </a:r>
            <a:r>
              <a:rPr lang="en-US" sz="800" dirty="0"/>
              <a:t> </a:t>
            </a:r>
            <a:r>
              <a:rPr lang="en-US" sz="800" dirty="0" err="1"/>
              <a:t>objevit</a:t>
            </a:r>
            <a:r>
              <a:rPr lang="en-US" sz="800" dirty="0"/>
              <a:t> </a:t>
            </a:r>
            <a:r>
              <a:rPr lang="en-US" sz="800" dirty="0" err="1"/>
              <a:t>další</a:t>
            </a:r>
            <a:r>
              <a:rPr lang="en-US" sz="800" dirty="0"/>
              <a:t> </a:t>
            </a:r>
            <a:r>
              <a:rPr lang="en-US" sz="800" dirty="0" err="1"/>
              <a:t>potenciální</a:t>
            </a:r>
            <a:r>
              <a:rPr lang="en-US" sz="800" dirty="0"/>
              <a:t> </a:t>
            </a:r>
            <a:r>
              <a:rPr lang="en-US" sz="800" dirty="0" err="1"/>
              <a:t>imunitně</a:t>
            </a:r>
            <a:r>
              <a:rPr lang="en-US" sz="800" dirty="0"/>
              <a:t> </a:t>
            </a:r>
            <a:r>
              <a:rPr lang="en-US" sz="800" dirty="0" err="1"/>
              <a:t>podmíněné</a:t>
            </a:r>
            <a:r>
              <a:rPr lang="en-US" sz="800" dirty="0"/>
              <a:t> </a:t>
            </a:r>
            <a:r>
              <a:rPr lang="en-US" sz="800" dirty="0" err="1"/>
              <a:t>nežádoucí</a:t>
            </a:r>
            <a:r>
              <a:rPr lang="en-US" sz="800" dirty="0"/>
              <a:t> </a:t>
            </a:r>
            <a:r>
              <a:rPr lang="en-US" sz="800" dirty="0" err="1"/>
              <a:t>účinky</a:t>
            </a:r>
            <a:r>
              <a:rPr lang="en-US" sz="800" dirty="0"/>
              <a:t>, </a:t>
            </a:r>
            <a:r>
              <a:rPr lang="en-US" sz="800" dirty="0" err="1"/>
              <a:t>včetně</a:t>
            </a:r>
            <a:r>
              <a:rPr lang="en-US" sz="800" dirty="0"/>
              <a:t> </a:t>
            </a:r>
            <a:r>
              <a:rPr lang="en-US" sz="800" dirty="0" err="1"/>
              <a:t>neinfekční</a:t>
            </a:r>
            <a:r>
              <a:rPr lang="en-US" sz="800" dirty="0"/>
              <a:t> </a:t>
            </a:r>
            <a:r>
              <a:rPr lang="en-US" sz="800" dirty="0" err="1"/>
              <a:t>cystitidy</a:t>
            </a:r>
            <a:r>
              <a:rPr lang="en-US" sz="800" dirty="0"/>
              <a:t>. </a:t>
            </a:r>
            <a:r>
              <a:rPr lang="en-US" sz="800" b="1" dirty="0" err="1"/>
              <a:t>Těhotenství</a:t>
            </a:r>
            <a:r>
              <a:rPr lang="en-US" sz="800" b="1" dirty="0"/>
              <a:t> a </a:t>
            </a:r>
            <a:r>
              <a:rPr lang="en-US" sz="800" b="1" dirty="0" err="1"/>
              <a:t>kojení</a:t>
            </a:r>
            <a:r>
              <a:rPr lang="en-US" sz="800" b="1" dirty="0"/>
              <a:t>:</a:t>
            </a:r>
            <a:r>
              <a:rPr lang="en-US" sz="800" dirty="0"/>
              <a:t> </a:t>
            </a:r>
            <a:r>
              <a:rPr lang="en-US" sz="800" dirty="0" err="1"/>
              <a:t>Ženy</a:t>
            </a:r>
            <a:r>
              <a:rPr lang="en-US" sz="800" dirty="0"/>
              <a:t> </a:t>
            </a:r>
            <a:r>
              <a:rPr lang="en-US" sz="800" dirty="0" err="1"/>
              <a:t>ve</a:t>
            </a:r>
            <a:r>
              <a:rPr lang="en-US" sz="800" dirty="0"/>
              <a:t> </a:t>
            </a:r>
            <a:r>
              <a:rPr lang="en-US" sz="800" dirty="0" err="1"/>
              <a:t>fertilním</a:t>
            </a:r>
            <a:r>
              <a:rPr lang="en-US" sz="800" dirty="0"/>
              <a:t> </a:t>
            </a:r>
            <a:r>
              <a:rPr lang="en-US" sz="800" dirty="0" err="1"/>
              <a:t>věku</a:t>
            </a:r>
            <a:r>
              <a:rPr lang="en-US" sz="800" dirty="0"/>
              <a:t> </a:t>
            </a:r>
            <a:r>
              <a:rPr lang="en-US" sz="800" dirty="0" err="1"/>
              <a:t>musí</a:t>
            </a:r>
            <a:r>
              <a:rPr lang="en-US" sz="800" dirty="0"/>
              <a:t> </a:t>
            </a:r>
            <a:r>
              <a:rPr lang="en-US" sz="800" dirty="0" err="1"/>
              <a:t>během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a 5 </a:t>
            </a:r>
            <a:r>
              <a:rPr lang="en-US" sz="800" dirty="0" err="1"/>
              <a:t>měsíců</a:t>
            </a:r>
            <a:r>
              <a:rPr lang="en-US" sz="800" dirty="0"/>
              <a:t>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poslední</a:t>
            </a:r>
            <a:r>
              <a:rPr lang="en-US" sz="800" dirty="0"/>
              <a:t> </a:t>
            </a:r>
            <a:r>
              <a:rPr lang="en-US" sz="800" dirty="0" err="1"/>
              <a:t>dávce</a:t>
            </a:r>
            <a:r>
              <a:rPr lang="en-US" sz="800" dirty="0"/>
              <a:t> </a:t>
            </a:r>
            <a:r>
              <a:rPr lang="en-US" sz="800" dirty="0" err="1"/>
              <a:t>používat</a:t>
            </a:r>
            <a:r>
              <a:rPr lang="en-US" sz="800" dirty="0"/>
              <a:t> </a:t>
            </a:r>
            <a:r>
              <a:rPr lang="en-US" sz="800" dirty="0" err="1"/>
              <a:t>účinnou</a:t>
            </a:r>
            <a:r>
              <a:rPr lang="en-US" sz="800" dirty="0"/>
              <a:t> </a:t>
            </a:r>
            <a:r>
              <a:rPr lang="en-US" sz="800" dirty="0" err="1"/>
              <a:t>antikoncepci</a:t>
            </a:r>
            <a:r>
              <a:rPr lang="en-US" sz="800" dirty="0"/>
              <a:t>. O </a:t>
            </a:r>
            <a:r>
              <a:rPr lang="en-US" sz="800" dirty="0" err="1"/>
              <a:t>použití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u </a:t>
            </a:r>
            <a:r>
              <a:rPr lang="en-US" sz="800" dirty="0" err="1"/>
              <a:t>těhotných</a:t>
            </a:r>
            <a:r>
              <a:rPr lang="en-US" sz="800" dirty="0"/>
              <a:t> </a:t>
            </a:r>
            <a:r>
              <a:rPr lang="en-US" sz="800" dirty="0" err="1"/>
              <a:t>žen</a:t>
            </a:r>
            <a:r>
              <a:rPr lang="en-US" sz="800" dirty="0"/>
              <a:t> </a:t>
            </a:r>
            <a:r>
              <a:rPr lang="en-US" sz="800" dirty="0" err="1"/>
              <a:t>nejsou</a:t>
            </a:r>
            <a:r>
              <a:rPr lang="en-US" sz="800" dirty="0"/>
              <a:t> k </a:t>
            </a:r>
            <a:r>
              <a:rPr lang="en-US" sz="800" dirty="0" err="1"/>
              <a:t>dispozici</a:t>
            </a:r>
            <a:r>
              <a:rPr lang="en-US" sz="800" dirty="0"/>
              <a:t> </a:t>
            </a:r>
            <a:r>
              <a:rPr lang="en-US" sz="800" dirty="0" err="1"/>
              <a:t>žádné</a:t>
            </a:r>
            <a:r>
              <a:rPr lang="en-US" sz="800" dirty="0"/>
              <a:t> </a:t>
            </a:r>
            <a:r>
              <a:rPr lang="en-US" sz="800" dirty="0" err="1"/>
              <a:t>údaje</a:t>
            </a:r>
            <a:r>
              <a:rPr lang="en-US" sz="800" dirty="0"/>
              <a:t>. </a:t>
            </a:r>
            <a:r>
              <a:rPr lang="en-US" sz="800" dirty="0" err="1"/>
              <a:t>Atezolizumab</a:t>
            </a:r>
            <a:r>
              <a:rPr lang="en-US" sz="800" dirty="0"/>
              <a:t> se </a:t>
            </a:r>
            <a:r>
              <a:rPr lang="en-US" sz="800" dirty="0" err="1"/>
              <a:t>nemá</a:t>
            </a:r>
            <a:r>
              <a:rPr lang="en-US" sz="800" dirty="0"/>
              <a:t> </a:t>
            </a:r>
            <a:r>
              <a:rPr lang="en-US" sz="800" dirty="0" err="1"/>
              <a:t>během</a:t>
            </a:r>
            <a:r>
              <a:rPr lang="en-US" sz="800" dirty="0"/>
              <a:t> </a:t>
            </a:r>
            <a:r>
              <a:rPr lang="en-US" sz="800" dirty="0" err="1"/>
              <a:t>těhotenství</a:t>
            </a:r>
            <a:r>
              <a:rPr lang="en-US" sz="800" dirty="0"/>
              <a:t> </a:t>
            </a:r>
            <a:r>
              <a:rPr lang="en-US" sz="800" dirty="0" err="1"/>
              <a:t>užívat</a:t>
            </a:r>
            <a:r>
              <a:rPr lang="en-US" sz="800" dirty="0"/>
              <a:t>, </a:t>
            </a:r>
            <a:r>
              <a:rPr lang="en-US" sz="800" dirty="0" err="1"/>
              <a:t>pokud</a:t>
            </a:r>
            <a:r>
              <a:rPr lang="en-US" sz="800" dirty="0"/>
              <a:t> </a:t>
            </a:r>
            <a:r>
              <a:rPr lang="en-US" sz="800" dirty="0" err="1"/>
              <a:t>klinický</a:t>
            </a:r>
            <a:r>
              <a:rPr lang="en-US" sz="800" dirty="0"/>
              <a:t> </a:t>
            </a:r>
            <a:r>
              <a:rPr lang="en-US" sz="800" dirty="0" err="1"/>
              <a:t>stav</a:t>
            </a:r>
            <a:r>
              <a:rPr lang="en-US" sz="800" dirty="0"/>
              <a:t> </a:t>
            </a:r>
            <a:r>
              <a:rPr lang="en-US" sz="800" dirty="0" err="1"/>
              <a:t>ženy</a:t>
            </a:r>
            <a:r>
              <a:rPr lang="en-US" sz="800" dirty="0"/>
              <a:t> </a:t>
            </a:r>
            <a:r>
              <a:rPr lang="en-US" sz="800" dirty="0" err="1"/>
              <a:t>nevyžaduje</a:t>
            </a:r>
            <a:r>
              <a:rPr lang="en-US" sz="800" dirty="0"/>
              <a:t> </a:t>
            </a:r>
            <a:r>
              <a:rPr lang="en-US" sz="800" dirty="0" err="1"/>
              <a:t>léčbu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. </a:t>
            </a:r>
            <a:r>
              <a:rPr lang="en-US" sz="800" dirty="0" err="1"/>
              <a:t>Není</a:t>
            </a:r>
            <a:r>
              <a:rPr lang="en-US" sz="800" dirty="0"/>
              <a:t> </a:t>
            </a:r>
            <a:r>
              <a:rPr lang="en-US" sz="800" dirty="0" err="1"/>
              <a:t>známo</a:t>
            </a:r>
            <a:r>
              <a:rPr lang="en-US" sz="800" dirty="0"/>
              <a:t>, </a:t>
            </a:r>
            <a:r>
              <a:rPr lang="en-US" sz="800" dirty="0" err="1"/>
              <a:t>jestli</a:t>
            </a:r>
            <a:r>
              <a:rPr lang="en-US" sz="800" dirty="0"/>
              <a:t> je </a:t>
            </a:r>
            <a:r>
              <a:rPr lang="en-US" sz="800" dirty="0" err="1"/>
              <a:t>atezolizumab</a:t>
            </a:r>
            <a:r>
              <a:rPr lang="en-US" sz="800" dirty="0"/>
              <a:t> </a:t>
            </a:r>
            <a:r>
              <a:rPr lang="en-US" sz="800" dirty="0" err="1"/>
              <a:t>vylučován</a:t>
            </a:r>
            <a:r>
              <a:rPr lang="en-US" sz="800" dirty="0"/>
              <a:t> do </a:t>
            </a:r>
            <a:r>
              <a:rPr lang="en-US" sz="800" dirty="0" err="1"/>
              <a:t>lidského</a:t>
            </a:r>
            <a:r>
              <a:rPr lang="en-US" sz="800" dirty="0"/>
              <a:t> </a:t>
            </a:r>
            <a:r>
              <a:rPr lang="en-US" sz="800" dirty="0" err="1"/>
              <a:t>mléka</a:t>
            </a:r>
            <a:r>
              <a:rPr lang="en-US" sz="800" dirty="0"/>
              <a:t>. </a:t>
            </a:r>
            <a:r>
              <a:rPr lang="en-US" sz="800" dirty="0" err="1"/>
              <a:t>Nelze</a:t>
            </a:r>
            <a:r>
              <a:rPr lang="en-US" sz="800" dirty="0"/>
              <a:t> </a:t>
            </a:r>
            <a:r>
              <a:rPr lang="en-US" sz="800" dirty="0" err="1"/>
              <a:t>vyloučit</a:t>
            </a:r>
            <a:r>
              <a:rPr lang="en-US" sz="800" dirty="0"/>
              <a:t> </a:t>
            </a:r>
            <a:r>
              <a:rPr lang="en-US" sz="800" dirty="0" err="1"/>
              <a:t>riziko</a:t>
            </a:r>
            <a:r>
              <a:rPr lang="en-US" sz="800" dirty="0"/>
              <a:t> pro </a:t>
            </a:r>
            <a:r>
              <a:rPr lang="en-US" sz="800" dirty="0" err="1"/>
              <a:t>novorozence</a:t>
            </a:r>
            <a:r>
              <a:rPr lang="en-US" sz="800" dirty="0"/>
              <a:t>/</a:t>
            </a:r>
            <a:r>
              <a:rPr lang="en-US" sz="800" dirty="0" err="1"/>
              <a:t>kojence</a:t>
            </a:r>
            <a:r>
              <a:rPr lang="en-US" sz="800" dirty="0"/>
              <a:t>. Je </a:t>
            </a:r>
            <a:r>
              <a:rPr lang="en-US" sz="800" dirty="0" err="1"/>
              <a:t>třeba</a:t>
            </a:r>
            <a:r>
              <a:rPr lang="en-US" sz="800" dirty="0"/>
              <a:t> </a:t>
            </a:r>
            <a:r>
              <a:rPr lang="en-US" sz="800" dirty="0" err="1"/>
              <a:t>učinit</a:t>
            </a:r>
            <a:r>
              <a:rPr lang="en-US" sz="800" dirty="0"/>
              <a:t> </a:t>
            </a:r>
            <a:r>
              <a:rPr lang="en-US" sz="800" dirty="0" err="1"/>
              <a:t>rozhodnutí</a:t>
            </a:r>
            <a:r>
              <a:rPr lang="en-US" sz="800" dirty="0"/>
              <a:t>, </a:t>
            </a:r>
            <a:r>
              <a:rPr lang="en-US" sz="800" dirty="0" err="1"/>
              <a:t>jestli</a:t>
            </a:r>
            <a:r>
              <a:rPr lang="en-US" sz="800" dirty="0"/>
              <a:t> </a:t>
            </a:r>
            <a:r>
              <a:rPr lang="en-US" sz="800" dirty="0" err="1"/>
              <a:t>ukončit</a:t>
            </a:r>
            <a:r>
              <a:rPr lang="en-US" sz="800" dirty="0"/>
              <a:t> </a:t>
            </a:r>
            <a:r>
              <a:rPr lang="en-US" sz="800" dirty="0" err="1"/>
              <a:t>kojení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ukončit</a:t>
            </a:r>
            <a:r>
              <a:rPr lang="en-US" sz="800" dirty="0"/>
              <a:t> </a:t>
            </a:r>
            <a:r>
              <a:rPr lang="en-US" sz="800" dirty="0" err="1"/>
              <a:t>podávání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s </a:t>
            </a:r>
            <a:r>
              <a:rPr lang="en-US" sz="800" dirty="0" err="1"/>
              <a:t>ohledem</a:t>
            </a:r>
            <a:r>
              <a:rPr lang="en-US" sz="800" dirty="0"/>
              <a:t> </a:t>
            </a:r>
            <a:r>
              <a:rPr lang="en-US" sz="800" dirty="0" err="1"/>
              <a:t>na</a:t>
            </a:r>
            <a:r>
              <a:rPr lang="en-US" sz="800" dirty="0"/>
              <a:t> </a:t>
            </a:r>
            <a:r>
              <a:rPr lang="en-US" sz="800" dirty="0" err="1"/>
              <a:t>prospěch</a:t>
            </a:r>
            <a:r>
              <a:rPr lang="en-US" sz="800" dirty="0"/>
              <a:t> </a:t>
            </a:r>
            <a:r>
              <a:rPr lang="en-US" sz="800" dirty="0" err="1"/>
              <a:t>kojení</a:t>
            </a:r>
            <a:r>
              <a:rPr lang="en-US" sz="800" dirty="0"/>
              <a:t> pro </a:t>
            </a:r>
            <a:r>
              <a:rPr lang="en-US" sz="800" dirty="0" err="1"/>
              <a:t>dítě</a:t>
            </a:r>
            <a:r>
              <a:rPr lang="en-US" sz="800" dirty="0"/>
              <a:t> a </a:t>
            </a:r>
            <a:r>
              <a:rPr lang="en-US" sz="800" dirty="0" err="1"/>
              <a:t>prospěch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pro </a:t>
            </a:r>
            <a:r>
              <a:rPr lang="en-US" sz="800" dirty="0" err="1"/>
              <a:t>ženu</a:t>
            </a:r>
            <a:r>
              <a:rPr lang="en-US" sz="800" dirty="0"/>
              <a:t>. </a:t>
            </a:r>
            <a:r>
              <a:rPr lang="en-US" sz="800" b="1" dirty="0" err="1"/>
              <a:t>Balení</a:t>
            </a:r>
            <a:r>
              <a:rPr lang="en-US" sz="800" b="1" dirty="0"/>
              <a:t> </a:t>
            </a:r>
            <a:r>
              <a:rPr lang="en-US" sz="800" b="1" dirty="0" err="1"/>
              <a:t>přípravku</a:t>
            </a:r>
            <a:r>
              <a:rPr lang="en-US" sz="800" b="1" dirty="0"/>
              <a:t>: </a:t>
            </a:r>
            <a:r>
              <a:rPr lang="en-US" sz="800" dirty="0"/>
              <a:t>1 </a:t>
            </a:r>
            <a:r>
              <a:rPr lang="en-US" sz="800" dirty="0" err="1"/>
              <a:t>injekční</a:t>
            </a:r>
            <a:r>
              <a:rPr lang="en-US" sz="800" dirty="0"/>
              <a:t> </a:t>
            </a:r>
            <a:r>
              <a:rPr lang="en-US" sz="800" dirty="0" err="1"/>
              <a:t>lahvička</a:t>
            </a:r>
            <a:r>
              <a:rPr lang="en-US" sz="800" dirty="0"/>
              <a:t> s </a:t>
            </a:r>
            <a:r>
              <a:rPr lang="en-US" sz="800" dirty="0" err="1"/>
              <a:t>uzávěrem</a:t>
            </a:r>
            <a:r>
              <a:rPr lang="en-US" sz="800" dirty="0"/>
              <a:t> z </a:t>
            </a:r>
            <a:r>
              <a:rPr lang="en-US" sz="800" dirty="0" err="1"/>
              <a:t>butylové</a:t>
            </a:r>
            <a:r>
              <a:rPr lang="en-US" sz="800" dirty="0"/>
              <a:t> </a:t>
            </a:r>
            <a:r>
              <a:rPr lang="en-US" sz="800" dirty="0" err="1"/>
              <a:t>pryže</a:t>
            </a:r>
            <a:r>
              <a:rPr lang="en-US" sz="800" dirty="0"/>
              <a:t> a </a:t>
            </a:r>
            <a:r>
              <a:rPr lang="en-US" sz="800" dirty="0" err="1"/>
              <a:t>hliníkovým</a:t>
            </a:r>
            <a:r>
              <a:rPr lang="en-US" sz="800" dirty="0"/>
              <a:t> </a:t>
            </a:r>
            <a:r>
              <a:rPr lang="en-US" sz="800" dirty="0" err="1"/>
              <a:t>uzávěrem</a:t>
            </a:r>
            <a:r>
              <a:rPr lang="en-US" sz="800" dirty="0"/>
              <a:t> s </a:t>
            </a:r>
            <a:r>
              <a:rPr lang="en-US" sz="800" dirty="0" err="1"/>
              <a:t>šedým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tyrkysovým</a:t>
            </a:r>
            <a:r>
              <a:rPr lang="en-US" sz="800" dirty="0"/>
              <a:t> </a:t>
            </a:r>
            <a:r>
              <a:rPr lang="en-US" sz="800" dirty="0" err="1"/>
              <a:t>plastovým</a:t>
            </a:r>
            <a:r>
              <a:rPr lang="en-US" sz="800" dirty="0"/>
              <a:t> </a:t>
            </a:r>
            <a:r>
              <a:rPr lang="en-US" sz="800" dirty="0" err="1"/>
              <a:t>odtrhávacím</a:t>
            </a:r>
            <a:r>
              <a:rPr lang="en-US" sz="800" dirty="0"/>
              <a:t> </a:t>
            </a:r>
            <a:r>
              <a:rPr lang="en-US" sz="800" dirty="0" err="1"/>
              <a:t>víčkem</a:t>
            </a:r>
            <a:r>
              <a:rPr lang="en-US" sz="800" dirty="0"/>
              <a:t> </a:t>
            </a:r>
            <a:r>
              <a:rPr lang="en-US" sz="800" dirty="0" err="1"/>
              <a:t>obsahující</a:t>
            </a:r>
            <a:r>
              <a:rPr lang="en-US" sz="800" dirty="0"/>
              <a:t> 14 ml </a:t>
            </a:r>
            <a:r>
              <a:rPr lang="en-US" sz="800" dirty="0" err="1"/>
              <a:t>nebo</a:t>
            </a:r>
            <a:r>
              <a:rPr lang="en-US" sz="800" dirty="0"/>
              <a:t> 20 ml </a:t>
            </a:r>
            <a:r>
              <a:rPr lang="en-US" sz="800" dirty="0" err="1"/>
              <a:t>koncentrátu</a:t>
            </a:r>
            <a:r>
              <a:rPr lang="en-US" sz="800" dirty="0"/>
              <a:t> pro </a:t>
            </a:r>
            <a:r>
              <a:rPr lang="en-US" sz="800" dirty="0" err="1"/>
              <a:t>infuzní</a:t>
            </a:r>
            <a:r>
              <a:rPr lang="en-US" sz="800" dirty="0"/>
              <a:t> </a:t>
            </a:r>
            <a:r>
              <a:rPr lang="en-US" sz="800" dirty="0" err="1"/>
              <a:t>roztok</a:t>
            </a:r>
            <a:r>
              <a:rPr lang="en-US" sz="800" dirty="0"/>
              <a:t>. </a:t>
            </a:r>
            <a:r>
              <a:rPr lang="en-US" sz="800" dirty="0" err="1"/>
              <a:t>Balení</a:t>
            </a:r>
            <a:r>
              <a:rPr lang="en-US" sz="800" dirty="0"/>
              <a:t> </a:t>
            </a:r>
            <a:r>
              <a:rPr lang="en-US" sz="800" dirty="0" err="1"/>
              <a:t>obsahuje</a:t>
            </a:r>
            <a:r>
              <a:rPr lang="en-US" sz="800" dirty="0"/>
              <a:t> 1 </a:t>
            </a:r>
            <a:r>
              <a:rPr lang="en-US" sz="800" dirty="0" err="1"/>
              <a:t>injekční</a:t>
            </a:r>
            <a:r>
              <a:rPr lang="en-US" sz="800" dirty="0"/>
              <a:t> </a:t>
            </a:r>
            <a:r>
              <a:rPr lang="en-US" sz="800" dirty="0" err="1"/>
              <a:t>lahvičku</a:t>
            </a:r>
            <a:r>
              <a:rPr lang="en-US" sz="800" dirty="0"/>
              <a:t>.  </a:t>
            </a:r>
            <a:r>
              <a:rPr lang="en-US" sz="800" b="1" dirty="0" err="1"/>
              <a:t>Podmínky</a:t>
            </a:r>
            <a:r>
              <a:rPr lang="en-US" sz="800" b="1" dirty="0"/>
              <a:t> </a:t>
            </a:r>
            <a:r>
              <a:rPr lang="en-US" sz="800" b="1" dirty="0" err="1"/>
              <a:t>uchovávání</a:t>
            </a:r>
            <a:r>
              <a:rPr lang="en-US" sz="800" b="1" dirty="0"/>
              <a:t>:</a:t>
            </a:r>
            <a:r>
              <a:rPr lang="en-US" sz="800" dirty="0"/>
              <a:t> </a:t>
            </a:r>
            <a:r>
              <a:rPr lang="en-US" sz="800" dirty="0" err="1"/>
              <a:t>Uchovávejte</a:t>
            </a:r>
            <a:r>
              <a:rPr lang="en-US" sz="800" dirty="0"/>
              <a:t> v </a:t>
            </a:r>
            <a:r>
              <a:rPr lang="en-US" sz="800" dirty="0" err="1"/>
              <a:t>chladničce</a:t>
            </a:r>
            <a:r>
              <a:rPr lang="en-US" sz="800" dirty="0"/>
              <a:t> (2 °C - 8 °C). </a:t>
            </a:r>
            <a:r>
              <a:rPr lang="en-US" sz="800" dirty="0" err="1"/>
              <a:t>Chraňte</a:t>
            </a:r>
            <a:r>
              <a:rPr lang="en-US" sz="800" dirty="0"/>
              <a:t> </a:t>
            </a:r>
            <a:r>
              <a:rPr lang="en-US" sz="800" dirty="0" err="1"/>
              <a:t>před</a:t>
            </a:r>
            <a:r>
              <a:rPr lang="en-US" sz="800" dirty="0"/>
              <a:t> </a:t>
            </a:r>
            <a:r>
              <a:rPr lang="en-US" sz="800" dirty="0" err="1"/>
              <a:t>mrazem</a:t>
            </a:r>
            <a:r>
              <a:rPr lang="en-US" sz="800" dirty="0"/>
              <a:t>. </a:t>
            </a:r>
            <a:r>
              <a:rPr lang="en-US" sz="800" dirty="0" err="1"/>
              <a:t>Uchovávejte</a:t>
            </a:r>
            <a:r>
              <a:rPr lang="en-US" sz="800" dirty="0"/>
              <a:t> </a:t>
            </a:r>
            <a:r>
              <a:rPr lang="en-US" sz="800" dirty="0" err="1"/>
              <a:t>injekční</a:t>
            </a:r>
            <a:r>
              <a:rPr lang="en-US" sz="800" dirty="0"/>
              <a:t> </a:t>
            </a:r>
            <a:r>
              <a:rPr lang="en-US" sz="800" dirty="0" err="1"/>
              <a:t>lahvičku</a:t>
            </a:r>
            <a:r>
              <a:rPr lang="en-US" sz="800" dirty="0"/>
              <a:t> v </a:t>
            </a:r>
            <a:r>
              <a:rPr lang="en-US" sz="800" dirty="0" err="1"/>
              <a:t>krabičce</a:t>
            </a:r>
            <a:r>
              <a:rPr lang="en-US" sz="800" dirty="0"/>
              <a:t>, aby </a:t>
            </a:r>
            <a:r>
              <a:rPr lang="en-US" sz="800" dirty="0" err="1"/>
              <a:t>byl</a:t>
            </a:r>
            <a:r>
              <a:rPr lang="en-US" sz="800" dirty="0"/>
              <a:t>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chráněn</a:t>
            </a:r>
            <a:r>
              <a:rPr lang="en-US" sz="800" dirty="0"/>
              <a:t> </a:t>
            </a:r>
            <a:r>
              <a:rPr lang="en-US" sz="800" dirty="0" err="1"/>
              <a:t>před</a:t>
            </a:r>
            <a:r>
              <a:rPr lang="en-US" sz="800" dirty="0"/>
              <a:t> </a:t>
            </a:r>
            <a:r>
              <a:rPr lang="en-US" sz="800" dirty="0" err="1"/>
              <a:t>světlem</a:t>
            </a:r>
            <a:r>
              <a:rPr lang="en-US" sz="800" dirty="0"/>
              <a:t>. </a:t>
            </a:r>
            <a:r>
              <a:rPr lang="en-US" sz="800" b="1" dirty="0" err="1"/>
              <a:t>Držitel</a:t>
            </a:r>
            <a:r>
              <a:rPr lang="en-US" sz="800" b="1" dirty="0"/>
              <a:t> </a:t>
            </a:r>
            <a:r>
              <a:rPr lang="en-US" sz="800" b="1" dirty="0" err="1"/>
              <a:t>registračního</a:t>
            </a:r>
            <a:r>
              <a:rPr lang="en-US" sz="800" b="1" dirty="0"/>
              <a:t> </a:t>
            </a:r>
            <a:r>
              <a:rPr lang="en-US" sz="800" b="1" dirty="0" err="1"/>
              <a:t>rozhodnutí</a:t>
            </a:r>
            <a:r>
              <a:rPr lang="en-US" sz="800" b="1" dirty="0"/>
              <a:t>:</a:t>
            </a:r>
            <a:r>
              <a:rPr lang="en-US" sz="800" dirty="0"/>
              <a:t> Roche Registration GmbH, Emil-</a:t>
            </a:r>
            <a:r>
              <a:rPr lang="en-US" sz="800" dirty="0" err="1"/>
              <a:t>Barell</a:t>
            </a:r>
            <a:r>
              <a:rPr lang="en-US" sz="800" dirty="0"/>
              <a:t>-</a:t>
            </a:r>
            <a:r>
              <a:rPr lang="en-US" sz="800" dirty="0" err="1"/>
              <a:t>Strasse</a:t>
            </a:r>
            <a:r>
              <a:rPr lang="en-US" sz="800" dirty="0"/>
              <a:t> 1, 79639 </a:t>
            </a:r>
            <a:r>
              <a:rPr lang="en-US" sz="800" dirty="0" err="1"/>
              <a:t>Grenzach-Wyhlen</a:t>
            </a:r>
            <a:r>
              <a:rPr lang="en-US" sz="800" dirty="0"/>
              <a:t>, </a:t>
            </a:r>
            <a:r>
              <a:rPr lang="en-US" sz="800" dirty="0" err="1"/>
              <a:t>Německo</a:t>
            </a:r>
            <a:r>
              <a:rPr lang="en-US" sz="800" dirty="0"/>
              <a:t> </a:t>
            </a:r>
            <a:r>
              <a:rPr lang="en-US" sz="800" b="1" dirty="0" err="1"/>
              <a:t>Registrační</a:t>
            </a:r>
            <a:r>
              <a:rPr lang="en-US" sz="800" b="1" dirty="0"/>
              <a:t> </a:t>
            </a:r>
            <a:r>
              <a:rPr lang="en-US" sz="800" b="1" dirty="0" err="1"/>
              <a:t>číslo</a:t>
            </a:r>
            <a:r>
              <a:rPr lang="en-US" sz="800" b="1" dirty="0"/>
              <a:t>: </a:t>
            </a:r>
            <a:r>
              <a:rPr lang="en-US" sz="800" dirty="0"/>
              <a:t>EU/1/17/1220/001 a EU/1/17/1220/002. </a:t>
            </a:r>
            <a:r>
              <a:rPr lang="en-US" sz="800" b="1" dirty="0"/>
              <a:t>Datum </a:t>
            </a:r>
            <a:r>
              <a:rPr lang="cs-CZ" sz="800" b="1" dirty="0" smtClean="0"/>
              <a:t>první </a:t>
            </a:r>
            <a:r>
              <a:rPr lang="en-US" sz="800" b="1" dirty="0" err="1" smtClean="0"/>
              <a:t>registrace</a:t>
            </a:r>
            <a:r>
              <a:rPr lang="en-US" sz="800" b="1" dirty="0"/>
              <a:t>: </a:t>
            </a:r>
            <a:r>
              <a:rPr lang="en-US" sz="800" dirty="0"/>
              <a:t>21. 09. 2017 </a:t>
            </a:r>
            <a:r>
              <a:rPr lang="en-US" sz="800" b="1" dirty="0"/>
              <a:t>Datum </a:t>
            </a:r>
            <a:r>
              <a:rPr lang="en-US" sz="800" b="1" dirty="0" err="1"/>
              <a:t>poslední</a:t>
            </a:r>
            <a:r>
              <a:rPr lang="en-US" sz="800" b="1" dirty="0"/>
              <a:t> </a:t>
            </a:r>
            <a:r>
              <a:rPr lang="en-US" sz="800" b="1" dirty="0" err="1"/>
              <a:t>úpravy</a:t>
            </a:r>
            <a:r>
              <a:rPr lang="en-US" sz="800" b="1" dirty="0"/>
              <a:t> </a:t>
            </a:r>
            <a:r>
              <a:rPr lang="en-US" sz="800" b="1" dirty="0" err="1"/>
              <a:t>textu</a:t>
            </a:r>
            <a:r>
              <a:rPr lang="en-US" sz="800" b="1" dirty="0"/>
              <a:t> </a:t>
            </a:r>
            <a:r>
              <a:rPr lang="en-US" sz="800" b="1" dirty="0" err="1"/>
              <a:t>Zkrácené</a:t>
            </a:r>
            <a:r>
              <a:rPr lang="en-US" sz="800" b="1" dirty="0"/>
              <a:t> </a:t>
            </a:r>
            <a:r>
              <a:rPr lang="en-US" sz="800" b="1" dirty="0" err="1"/>
              <a:t>informace</a:t>
            </a:r>
            <a:r>
              <a:rPr lang="en-US" sz="800" b="1" dirty="0"/>
              <a:t> o </a:t>
            </a:r>
            <a:r>
              <a:rPr lang="en-US" sz="800" b="1" dirty="0" err="1"/>
              <a:t>přípravku</a:t>
            </a:r>
            <a:r>
              <a:rPr lang="en-US" sz="800" b="1" dirty="0"/>
              <a:t>: </a:t>
            </a:r>
            <a:r>
              <a:rPr lang="cs-CZ" sz="800" dirty="0" smtClean="0"/>
              <a:t>11.1.2024</a:t>
            </a:r>
            <a:r>
              <a:rPr lang="en-US" sz="800" b="1" dirty="0" smtClean="0"/>
              <a:t> </a:t>
            </a:r>
            <a:r>
              <a:rPr lang="en-US" sz="800" b="1" dirty="0" err="1"/>
              <a:t>Aktuální</a:t>
            </a:r>
            <a:r>
              <a:rPr lang="en-US" sz="800" b="1" dirty="0"/>
              <a:t> </a:t>
            </a:r>
            <a:r>
              <a:rPr lang="en-US" sz="800" b="1" dirty="0" err="1"/>
              <a:t>verze</a:t>
            </a:r>
            <a:r>
              <a:rPr lang="en-US" sz="800" b="1" dirty="0"/>
              <a:t> </a:t>
            </a:r>
            <a:r>
              <a:rPr lang="en-US" sz="800" b="1" dirty="0" err="1"/>
              <a:t>Souhrnu</a:t>
            </a:r>
            <a:r>
              <a:rPr lang="en-US" sz="800" b="1" dirty="0"/>
              <a:t> </a:t>
            </a:r>
            <a:r>
              <a:rPr lang="en-US" sz="800" b="1" dirty="0" err="1"/>
              <a:t>údajů</a:t>
            </a:r>
            <a:r>
              <a:rPr lang="en-US" sz="800" b="1" dirty="0"/>
              <a:t> o </a:t>
            </a:r>
            <a:r>
              <a:rPr lang="en-US" sz="800" b="1" dirty="0" err="1"/>
              <a:t>přípravku</a:t>
            </a:r>
            <a:r>
              <a:rPr lang="en-US" sz="800" b="1" dirty="0"/>
              <a:t> je </a:t>
            </a:r>
            <a:r>
              <a:rPr lang="en-US" sz="800" b="1" dirty="0" err="1"/>
              <a:t>dostupná</a:t>
            </a:r>
            <a:r>
              <a:rPr lang="en-US" sz="800" b="1" dirty="0"/>
              <a:t> </a:t>
            </a:r>
            <a:r>
              <a:rPr lang="en-US" sz="800" b="1" dirty="0" err="1"/>
              <a:t>na</a:t>
            </a:r>
            <a:r>
              <a:rPr lang="en-US" sz="800" b="1" dirty="0"/>
              <a:t> </a:t>
            </a:r>
            <a:r>
              <a:rPr lang="en-US" sz="800" b="1" u="sng" dirty="0">
                <a:hlinkClick r:id="rId2"/>
              </a:rPr>
              <a:t>https://</a:t>
            </a:r>
            <a:r>
              <a:rPr lang="en-US" sz="800" b="1" u="sng" dirty="0" smtClean="0">
                <a:hlinkClick r:id="rId2"/>
              </a:rPr>
              <a:t>www.sukl.cz</a:t>
            </a:r>
            <a:r>
              <a:rPr lang="cs-CZ" sz="800" b="1" u="sng" dirty="0" smtClean="0"/>
              <a:t> </a:t>
            </a:r>
            <a:r>
              <a:rPr lang="en-US" sz="800" dirty="0" smtClean="0"/>
              <a:t> </a:t>
            </a:r>
            <a:r>
              <a:rPr lang="en-US" sz="800" b="1" dirty="0" err="1" smtClean="0"/>
              <a:t>Výdej</a:t>
            </a:r>
            <a:r>
              <a:rPr lang="en-US" sz="800" b="1" dirty="0" smtClean="0"/>
              <a:t> </a:t>
            </a:r>
            <a:r>
              <a:rPr lang="en-US" sz="800" b="1" dirty="0" err="1" smtClean="0"/>
              <a:t>léčivého</a:t>
            </a:r>
            <a:r>
              <a:rPr lang="en-US" sz="800" b="1" dirty="0" smtClean="0"/>
              <a:t> </a:t>
            </a:r>
            <a:r>
              <a:rPr lang="en-US" sz="800" b="1" dirty="0" err="1" smtClean="0"/>
              <a:t>přípravku</a:t>
            </a:r>
            <a:r>
              <a:rPr lang="en-US" sz="800" b="1" dirty="0" smtClean="0"/>
              <a:t> je </a:t>
            </a:r>
            <a:r>
              <a:rPr lang="en-US" sz="800" b="1" dirty="0" err="1" smtClean="0"/>
              <a:t>vázán</a:t>
            </a:r>
            <a:r>
              <a:rPr lang="en-US" sz="800" b="1" dirty="0" smtClean="0"/>
              <a:t> </a:t>
            </a:r>
            <a:r>
              <a:rPr lang="en-US" sz="800" b="1" dirty="0" err="1" smtClean="0"/>
              <a:t>na</a:t>
            </a:r>
            <a:r>
              <a:rPr lang="en-US" sz="800" b="1" dirty="0" smtClean="0"/>
              <a:t> </a:t>
            </a:r>
            <a:r>
              <a:rPr lang="en-US" sz="800" b="1" dirty="0" err="1" smtClean="0"/>
              <a:t>lékařský</a:t>
            </a:r>
            <a:r>
              <a:rPr lang="en-US" sz="800" b="1" dirty="0" smtClean="0"/>
              <a:t> </a:t>
            </a:r>
            <a:r>
              <a:rPr lang="en-US" sz="800" b="1" dirty="0" err="1" smtClean="0"/>
              <a:t>předpis</a:t>
            </a:r>
            <a:r>
              <a:rPr lang="en-US" sz="800" dirty="0" smtClean="0"/>
              <a:t>. </a:t>
            </a:r>
            <a:r>
              <a:rPr lang="cs-CZ" sz="800" dirty="0"/>
              <a:t> Léčivý přípravek TECENTRIQ 1200MG INF CNC SOL 1X20ML  (kód SÚKL:  0222461)  je hrazen z prostředků veřejného zdravotního pojištění: 1)  v </a:t>
            </a:r>
            <a:r>
              <a:rPr lang="cs-CZ" sz="800" dirty="0" err="1"/>
              <a:t>monoterapii</a:t>
            </a:r>
            <a:r>
              <a:rPr lang="cs-CZ" sz="800" dirty="0"/>
              <a:t> k léčbě dospělých pacientů s lokálně pokročilým nebo metastazujícím NSCLC po předchozí chemoterapii, 2) v </a:t>
            </a:r>
            <a:r>
              <a:rPr lang="cs-CZ" sz="800" dirty="0" err="1"/>
              <a:t>monoterapii</a:t>
            </a:r>
            <a:r>
              <a:rPr lang="cs-CZ" sz="800" dirty="0"/>
              <a:t> v první linii léčby metastazujícího nemalobuněčného karcinomu plic u dospělých pacientů, jejichž nádorové elementy exprimují PD-L1 s TPS větším nebo rovným 50 %; nebo s expresí PD-L1 na ≥ 50 % nádorových buňkách nebo ≥ 10 % tumor infiltrujících imunitních buňkách, a kteří zároveň nejsou vhodní k léčbě </a:t>
            </a:r>
            <a:r>
              <a:rPr lang="cs-CZ" sz="800" dirty="0" err="1"/>
              <a:t>pembrolizumabem</a:t>
            </a:r>
            <a:r>
              <a:rPr lang="cs-CZ" sz="800" dirty="0"/>
              <a:t> v kombinaci s chemoterapií tvořenou </a:t>
            </a:r>
            <a:r>
              <a:rPr lang="cs-CZ" sz="800" dirty="0" err="1"/>
              <a:t>pemetrexedem</a:t>
            </a:r>
            <a:r>
              <a:rPr lang="cs-CZ" sz="800" dirty="0"/>
              <a:t> a platinovým derivátem, 3) v </a:t>
            </a:r>
            <a:r>
              <a:rPr lang="cs-CZ" sz="800" dirty="0" err="1"/>
              <a:t>monoterapii</a:t>
            </a:r>
            <a:r>
              <a:rPr lang="cs-CZ" sz="800" dirty="0"/>
              <a:t> k adjuvantní léčbě dospělých pacientů s nemalobuněčným karcinomem plic s vysokým rizikem </a:t>
            </a:r>
            <a:r>
              <a:rPr lang="cs-CZ" sz="800" dirty="0" err="1"/>
              <a:t>rekurence</a:t>
            </a:r>
            <a:r>
              <a:rPr lang="cs-CZ" sz="800" dirty="0"/>
              <a:t> onemocnění, jejichž nádorové elementy exprimují PD-L1 s TPS větším nebo rovným 50 %, nebo jejichž nádory vykazují expresi PD-L1 na ≥ 50 % nádorových buněk (TC), po úplné resekci a chemoterapii na bázi platiny,  4)  v kombinaci s </a:t>
            </a:r>
            <a:r>
              <a:rPr lang="cs-CZ" sz="800" dirty="0" err="1"/>
              <a:t>bevacizumabem</a:t>
            </a:r>
            <a:r>
              <a:rPr lang="cs-CZ" sz="800" dirty="0"/>
              <a:t> v léčbě dospělých pacientů s pokročilým nebo </a:t>
            </a:r>
            <a:r>
              <a:rPr lang="cs-CZ" sz="800" dirty="0" err="1"/>
              <a:t>neresekovatelným</a:t>
            </a:r>
            <a:r>
              <a:rPr lang="cs-CZ" sz="800" dirty="0"/>
              <a:t> hepatocelulárním karcinomem s jaterní funkcí hodnocenou skóre A dle </a:t>
            </a:r>
            <a:r>
              <a:rPr lang="cs-CZ" sz="800" dirty="0" err="1"/>
              <a:t>Child-Pughovy</a:t>
            </a:r>
            <a:r>
              <a:rPr lang="cs-CZ" sz="800" dirty="0"/>
              <a:t> klasifikace, kteří dosud neužívali systémovou léčbu a u kterých </a:t>
            </a:r>
            <a:r>
              <a:rPr lang="cs-CZ" sz="800" dirty="0" err="1"/>
              <a:t>lokoregionální</a:t>
            </a:r>
            <a:r>
              <a:rPr lang="cs-CZ" sz="800" dirty="0"/>
              <a:t> léčba nepředstavuje léčebnou možnost. Léčivý přípravek TECENTRIQ 840MG INF CNC SOL 1X14ML (kód SÚKL: 0238583)je hrazen z prostředků veřejného zdravotního pojištění</a:t>
            </a:r>
            <a:r>
              <a:rPr lang="cs-CZ" sz="800" i="1" dirty="0"/>
              <a:t>*</a:t>
            </a:r>
            <a:r>
              <a:rPr lang="cs-CZ" sz="800" dirty="0"/>
              <a:t>v kombinaci s </a:t>
            </a:r>
            <a:r>
              <a:rPr lang="cs-CZ" sz="800" dirty="0" err="1"/>
              <a:t>etoposidem</a:t>
            </a:r>
            <a:r>
              <a:rPr lang="cs-CZ" sz="800" dirty="0"/>
              <a:t> a </a:t>
            </a:r>
            <a:r>
              <a:rPr lang="cs-CZ" sz="800" dirty="0" err="1"/>
              <a:t>karboplatinou</a:t>
            </a:r>
            <a:r>
              <a:rPr lang="cs-CZ" sz="800" dirty="0"/>
              <a:t> v první linii léčby dospělých pacientů s pokročilým stádiem malobuněčného karcinomu plic (ES-SCLC) Detailní podmínky úhrady viz </a:t>
            </a:r>
            <a:r>
              <a:rPr lang="cs-CZ" sz="800" u="sng" dirty="0">
                <a:hlinkClick r:id="rId3"/>
              </a:rPr>
              <a:t>www.sukl.cz</a:t>
            </a:r>
            <a:r>
              <a:rPr lang="cs-CZ" sz="800" dirty="0"/>
              <a:t>. O úhradě v dalších indikacích a úhradě </a:t>
            </a:r>
            <a:r>
              <a:rPr lang="cs-CZ" sz="800" dirty="0" err="1"/>
              <a:t>Tecentriq</a:t>
            </a:r>
            <a:r>
              <a:rPr lang="cs-CZ" sz="800" dirty="0"/>
              <a:t> 1875mg injekční roztok zatím nebylo </a:t>
            </a:r>
            <a:r>
              <a:rPr lang="cs-CZ" sz="800" dirty="0" err="1"/>
              <a:t>rozhodnuto</a:t>
            </a:r>
            <a:r>
              <a:rPr lang="cs-CZ" sz="800" dirty="0" err="1" smtClean="0"/>
              <a:t>..</a:t>
            </a:r>
            <a:r>
              <a:rPr lang="cs-CZ" sz="800" dirty="0" err="1" smtClean="0"/>
              <a:t>Další</a:t>
            </a:r>
            <a:r>
              <a:rPr lang="cs-CZ" sz="800" dirty="0" smtClean="0"/>
              <a:t> </a:t>
            </a:r>
            <a:r>
              <a:rPr lang="cs-CZ" sz="800" dirty="0"/>
              <a:t>informace o přípravku získáte z platného Souhrnu údajů o přípravku </a:t>
            </a:r>
            <a:r>
              <a:rPr lang="cs-CZ" sz="800" dirty="0" err="1"/>
              <a:t>Tecentriq</a:t>
            </a:r>
            <a:r>
              <a:rPr lang="cs-CZ" sz="800" dirty="0"/>
              <a:t>, nebo na adrese: </a:t>
            </a:r>
            <a:r>
              <a:rPr lang="cs-CZ" sz="800" dirty="0" err="1"/>
              <a:t>Roche</a:t>
            </a:r>
            <a:r>
              <a:rPr lang="cs-CZ" sz="800" dirty="0"/>
              <a:t> s.r.o., </a:t>
            </a:r>
            <a:r>
              <a:rPr lang="cs-CZ" sz="800" dirty="0" err="1"/>
              <a:t>Futurama</a:t>
            </a:r>
            <a:r>
              <a:rPr lang="cs-CZ" sz="800" dirty="0"/>
              <a:t> Business Park </a:t>
            </a:r>
            <a:r>
              <a:rPr lang="cs-CZ" sz="800" dirty="0" err="1"/>
              <a:t>Bld</a:t>
            </a:r>
            <a:r>
              <a:rPr lang="cs-CZ" sz="800" dirty="0"/>
              <a:t> F, Sokolovská 685/136f, 186 00 Praha 8, telefon 220 382 111. Podrobné informace o tomto přípravku jsou uveřejněny na webových stránkách Evropské lékové agentury (EMA) </a:t>
            </a:r>
            <a:r>
              <a:rPr lang="cs-CZ" sz="800" u="sng" dirty="0">
                <a:hlinkClick r:id="rId4"/>
              </a:rPr>
              <a:t>http://www.ema.europa.eu</a:t>
            </a:r>
            <a:r>
              <a:rPr lang="cs-CZ" sz="800" u="sng" dirty="0" smtClean="0">
                <a:hlinkClick r:id="rId4"/>
              </a:rPr>
              <a:t>/</a:t>
            </a:r>
            <a:r>
              <a:rPr lang="cs-CZ" sz="800" dirty="0" smtClean="0"/>
              <a:t>. </a:t>
            </a:r>
            <a:r>
              <a:rPr lang="cs-CZ" sz="800" dirty="0"/>
              <a:t>Kontakt pro hlášení nežádoucích účinků : </a:t>
            </a:r>
            <a:r>
              <a:rPr lang="cs-CZ" sz="800" dirty="0" smtClean="0"/>
              <a:t>czech_republic.pa_susar@roche.com</a:t>
            </a:r>
            <a:endParaRPr lang="en-US" sz="800" dirty="0"/>
          </a:p>
          <a:p>
            <a:r>
              <a:rPr lang="cs-CZ" sz="800" i="1" dirty="0"/>
              <a:t>* Všimněte si, prosím, změn v informacích o léčivém přípravku.</a:t>
            </a:r>
            <a:endParaRPr lang="en-US" sz="800" dirty="0"/>
          </a:p>
          <a:p>
            <a:pPr marL="0" indent="0">
              <a:buNone/>
            </a:pPr>
            <a:r>
              <a:rPr lang="cs-CZ" sz="800" dirty="0" smtClean="0"/>
              <a:t/>
            </a:r>
            <a:br>
              <a:rPr lang="cs-CZ" sz="800" dirty="0" smtClean="0"/>
            </a:br>
            <a:r>
              <a:rPr lang="cs-CZ" sz="800" dirty="0" smtClean="0"/>
              <a:t/>
            </a:r>
            <a:br>
              <a:rPr lang="cs-CZ" sz="800" dirty="0" smtClean="0"/>
            </a:br>
            <a:endParaRPr lang="cs-CZ" sz="800" dirty="0"/>
          </a:p>
        </p:txBody>
      </p:sp>
      <p:sp>
        <p:nvSpPr>
          <p:cNvPr id="6" name="TextovéPole 5"/>
          <p:cNvSpPr txBox="1"/>
          <p:nvPr/>
        </p:nvSpPr>
        <p:spPr>
          <a:xfrm rot="16200000">
            <a:off x="11179731" y="3064864"/>
            <a:ext cx="17469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mago" pitchFamily="2" charset="0"/>
                <a:ea typeface="+mn-ea"/>
                <a:cs typeface="+mn-cs"/>
              </a:rPr>
              <a:t>M-CZ-00002000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mago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21264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esign studie </a:t>
            </a:r>
            <a:r>
              <a:rPr lang="cs-CZ" dirty="0" smtClean="0"/>
              <a:t>IMpassion130</a:t>
            </a:r>
            <a:r>
              <a:rPr lang="cs-CZ" b="0" baseline="30000" dirty="0" smtClean="0"/>
              <a:t>1</a:t>
            </a:r>
            <a:endParaRPr lang="cs-CZ" dirty="0"/>
          </a:p>
        </p:txBody>
      </p:sp>
      <p:graphicFrame>
        <p:nvGraphicFramePr>
          <p:cNvPr id="10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78769334"/>
              </p:ext>
            </p:extLst>
          </p:nvPr>
        </p:nvGraphicFramePr>
        <p:xfrm>
          <a:off x="423571" y="1230831"/>
          <a:ext cx="11177433" cy="4220436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2390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868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2634">
                <a:tc>
                  <a:txBody>
                    <a:bodyPr/>
                    <a:lstStyle/>
                    <a:p>
                      <a:r>
                        <a:rPr lang="cs-CZ" sz="1800" b="1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Stratifikační faktory</a:t>
                      </a:r>
                      <a:endParaRPr lang="en-US" sz="1800" b="1" dirty="0">
                        <a:uFillTx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tc>
                  <a:txBody>
                    <a:bodyPr/>
                    <a:lstStyle>
                      <a:lvl1pPr marL="0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60887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1217747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826621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243549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3044368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3653242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4262115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4870989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800" kern="1200" baseline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řítomnost jaterních metastáz</a:t>
                      </a:r>
                      <a:endParaRPr lang="en-US" sz="1800" kern="1200" baseline="0" dirty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800" kern="1200" baseline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ředchozí léčba </a:t>
                      </a:r>
                      <a:r>
                        <a:rPr lang="cs-CZ" sz="1800" kern="1200" baseline="0" noProof="0" dirty="0" err="1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xany</a:t>
                      </a:r>
                      <a:r>
                        <a:rPr lang="cs-CZ" sz="1800" kern="1200" baseline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pro </a:t>
                      </a:r>
                      <a:r>
                        <a:rPr lang="cs-CZ" sz="1800" kern="1200" baseline="0" dirty="0" err="1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emetastatické</a:t>
                      </a:r>
                      <a:r>
                        <a:rPr lang="cs-CZ" sz="1800" kern="1200" baseline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onemocnění</a:t>
                      </a:r>
                      <a:endParaRPr lang="en-US" sz="1800" kern="1200" baseline="0" dirty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800" kern="1200" baseline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D-L1 IC status </a:t>
                      </a:r>
                      <a:r>
                        <a:rPr lang="en-US" altLang="zh-TW" sz="1800" kern="1200" baseline="0" noProof="0" dirty="0" err="1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o</a:t>
                      </a:r>
                      <a:r>
                        <a:rPr lang="cs-CZ" altLang="zh-TW" sz="1800" kern="1200" baseline="0" noProof="0" dirty="0" err="1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itivní</a:t>
                      </a:r>
                      <a:r>
                        <a:rPr lang="en-US" altLang="zh-TW" sz="1800" kern="1200" baseline="0" noProof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[≥1%] vs</a:t>
                      </a:r>
                      <a:r>
                        <a:rPr lang="cs-CZ" altLang="zh-TW" sz="1800" kern="1200" baseline="0" noProof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negativní</a:t>
                      </a:r>
                      <a:r>
                        <a:rPr lang="en-US" altLang="zh-TW" sz="1800" kern="1200" baseline="0" noProof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[&lt;1%]</a:t>
                      </a:r>
                      <a:endParaRPr lang="en-US" sz="1800" kern="1200" baseline="0" dirty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0556">
                <a:tc>
                  <a:txBody>
                    <a:bodyPr/>
                    <a:lstStyle/>
                    <a:p>
                      <a:r>
                        <a:rPr lang="cs-CZ" sz="1800" b="1" dirty="0" err="1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Ko</a:t>
                      </a:r>
                      <a:r>
                        <a:rPr lang="cs-CZ" sz="1800" b="1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-primární</a:t>
                      </a:r>
                      <a:r>
                        <a:rPr lang="cs-CZ" sz="1800" b="1" baseline="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 cíle</a:t>
                      </a:r>
                      <a:endParaRPr lang="en-US" sz="1800" b="1" dirty="0">
                        <a:uFillTx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tc>
                  <a:txBody>
                    <a:bodyPr/>
                    <a:lstStyle>
                      <a:lvl1pPr marL="0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60887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1217747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826621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243549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3044368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3653242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4262115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4870989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>
                          <a:uFillTx/>
                        </a:defRPr>
                      </a:pPr>
                      <a:r>
                        <a:rPr lang="en-US" sz="1800" kern="1200" baseline="0" dirty="0">
                          <a:uFillTx/>
                          <a:latin typeface="+mn-lt"/>
                          <a:cs typeface="Arial" panose="020B0604020202020204" pitchFamily="34" charset="0"/>
                        </a:rPr>
                        <a:t>PFS (RECIST </a:t>
                      </a:r>
                      <a:r>
                        <a:rPr lang="en-US" sz="1800" kern="1200" baseline="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1.1</a:t>
                      </a:r>
                      <a:r>
                        <a:rPr lang="cs-CZ" sz="1800" kern="1200" baseline="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  <a:endParaRPr lang="en-US" sz="1800" kern="1200" baseline="0" dirty="0">
                        <a:uFillTx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>
                          <a:uFillTx/>
                        </a:defRPr>
                      </a:pPr>
                      <a:r>
                        <a:rPr lang="en-US" sz="1800" kern="1200" baseline="0" dirty="0">
                          <a:uFillTx/>
                          <a:latin typeface="+mn-lt"/>
                          <a:cs typeface="Arial" panose="020B0604020202020204" pitchFamily="34" charset="0"/>
                        </a:rPr>
                        <a:t>OS</a:t>
                      </a:r>
                      <a:endParaRPr lang="en-US" sz="1800" b="0" kern="1200" baseline="0" dirty="0"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65708">
                <a:tc>
                  <a:txBody>
                    <a:bodyPr/>
                    <a:lstStyle/>
                    <a:p>
                      <a:r>
                        <a:rPr lang="cs-CZ" sz="1800" b="1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Sekundární</a:t>
                      </a:r>
                      <a:r>
                        <a:rPr lang="cs-CZ" sz="1800" b="1" baseline="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 cíle</a:t>
                      </a:r>
                      <a:endParaRPr lang="en-US" sz="1800" b="1" dirty="0">
                        <a:uFillTx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tc>
                  <a:txBody>
                    <a:bodyPr/>
                    <a:lstStyle>
                      <a:lvl1pPr marL="0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60887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1217747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826621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243549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3044368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3653242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4262115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4870989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>
                          <a:uFillTx/>
                        </a:defRPr>
                      </a:pPr>
                      <a:r>
                        <a:rPr lang="en-US" sz="1800" kern="1200" dirty="0">
                          <a:uFillTx/>
                          <a:latin typeface="+mn-lt"/>
                          <a:cs typeface="Arial" panose="020B0604020202020204" pitchFamily="34" charset="0"/>
                        </a:rPr>
                        <a:t>ORR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>
                          <a:uFillTx/>
                        </a:defRPr>
                      </a:pPr>
                      <a:r>
                        <a:rPr lang="cs-CZ" sz="1800" kern="1200" dirty="0" err="1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DoR</a:t>
                      </a:r>
                      <a:r>
                        <a:rPr lang="cs-CZ" sz="1800" kern="120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 (RECIST1.1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>
                          <a:uFillTx/>
                        </a:defRPr>
                      </a:pPr>
                      <a:r>
                        <a:rPr lang="en-GB" sz="1800" kern="1200" noProof="0" dirty="0" err="1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RQoL</a:t>
                      </a:r>
                      <a:r>
                        <a:rPr lang="cs-CZ" sz="1800" kern="1200" noProof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(pacientem hlášený celkový zdravotní stav/kvalita života souvisejí se zdravím)</a:t>
                      </a:r>
                      <a:endParaRPr lang="en-GB" sz="1800" kern="1200" noProof="0" dirty="0" smtClean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1538">
                <a:tc>
                  <a:txBody>
                    <a:bodyPr/>
                    <a:lstStyle/>
                    <a:p>
                      <a:r>
                        <a:rPr lang="cs-CZ" sz="1800" b="1" kern="120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Bezpečnost</a:t>
                      </a:r>
                      <a:endParaRPr lang="en-US" sz="1800" b="1" kern="1200" dirty="0"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tc>
                  <a:txBody>
                    <a:bodyPr/>
                    <a:lstStyle>
                      <a:lvl1pPr marL="0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60887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1217747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826621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243549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3044368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3653242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4262115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4870989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>
                          <a:uFillTx/>
                        </a:defRPr>
                      </a:pPr>
                      <a:r>
                        <a:rPr lang="cs-CZ" sz="1800" kern="120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Bezpečnost a </a:t>
                      </a:r>
                      <a:r>
                        <a:rPr lang="cs-CZ" sz="1800" kern="1200" dirty="0" err="1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tolerabilita</a:t>
                      </a:r>
                      <a:r>
                        <a:rPr lang="cs-CZ" sz="1800" kern="1200" baseline="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 kombinace </a:t>
                      </a:r>
                      <a:r>
                        <a:rPr lang="cs-CZ" sz="1800" kern="1200" baseline="0" dirty="0" err="1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cs-CZ" sz="1800" kern="1200" baseline="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 + </a:t>
                      </a:r>
                      <a:r>
                        <a:rPr lang="cs-CZ" sz="1800" kern="1200" baseline="0" dirty="0" err="1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nab-paklitaxel</a:t>
                      </a:r>
                      <a:endParaRPr lang="cs-CZ" sz="1800" kern="1200" baseline="0" dirty="0" smtClean="0">
                        <a:uFillTx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4" name="Obdélník 13"/>
          <p:cNvSpPr/>
          <p:nvPr/>
        </p:nvSpPr>
        <p:spPr>
          <a:xfrm>
            <a:off x="0" y="6577381"/>
            <a:ext cx="991648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</a:t>
            </a:r>
            <a:r>
              <a:rPr lang="cs-CZ" sz="800" b="1" dirty="0" smtClean="0">
                <a:solidFill>
                  <a:srgbClr val="000000"/>
                </a:solidFill>
              </a:rPr>
              <a:t>. </a:t>
            </a:r>
            <a:r>
              <a:rPr lang="cs-CZ" sz="800" dirty="0">
                <a:solidFill>
                  <a:srgbClr val="000000"/>
                </a:solidFill>
              </a:rPr>
              <a:t>P. Schmid, </a:t>
            </a:r>
            <a:r>
              <a:rPr lang="cs-CZ" sz="800" dirty="0" err="1">
                <a:solidFill>
                  <a:srgbClr val="000000"/>
                </a:solidFill>
              </a:rPr>
              <a:t>S.Adams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err="1">
                <a:solidFill>
                  <a:srgbClr val="000000"/>
                </a:solidFill>
              </a:rPr>
              <a:t>H.S.Rugo</a:t>
            </a:r>
            <a:r>
              <a:rPr lang="cs-CZ" sz="800" dirty="0">
                <a:solidFill>
                  <a:srgbClr val="000000"/>
                </a:solidFill>
              </a:rPr>
              <a:t>, A </a:t>
            </a:r>
            <a:r>
              <a:rPr lang="cs-CZ" sz="800" dirty="0" err="1">
                <a:solidFill>
                  <a:srgbClr val="000000"/>
                </a:solidFill>
              </a:rPr>
              <a:t>Schneeweiss</a:t>
            </a:r>
            <a:r>
              <a:rPr lang="cs-CZ" sz="800" dirty="0">
                <a:solidFill>
                  <a:srgbClr val="000000"/>
                </a:solidFill>
              </a:rPr>
              <a:t> et al; </a:t>
            </a:r>
            <a:r>
              <a:rPr lang="cs-CZ" sz="800" dirty="0" err="1">
                <a:solidFill>
                  <a:srgbClr val="000000"/>
                </a:solidFill>
              </a:rPr>
              <a:t>Atezolizumab</a:t>
            </a:r>
            <a:r>
              <a:rPr lang="cs-CZ" sz="800" dirty="0">
                <a:solidFill>
                  <a:srgbClr val="000000"/>
                </a:solidFill>
              </a:rPr>
              <a:t> and </a:t>
            </a:r>
            <a:r>
              <a:rPr lang="cs-CZ" sz="800" dirty="0" err="1">
                <a:solidFill>
                  <a:srgbClr val="000000"/>
                </a:solidFill>
              </a:rPr>
              <a:t>Nab-Paclitaxel</a:t>
            </a:r>
            <a:r>
              <a:rPr lang="cs-CZ" sz="800" dirty="0">
                <a:solidFill>
                  <a:srgbClr val="000000"/>
                </a:solidFill>
              </a:rPr>
              <a:t> in </a:t>
            </a:r>
            <a:r>
              <a:rPr lang="cs-CZ" sz="800" dirty="0" err="1">
                <a:solidFill>
                  <a:srgbClr val="000000"/>
                </a:solidFill>
              </a:rPr>
              <a:t>Advanced</a:t>
            </a:r>
            <a:r>
              <a:rPr lang="cs-CZ" sz="800" dirty="0">
                <a:solidFill>
                  <a:srgbClr val="000000"/>
                </a:solidFill>
              </a:rPr>
              <a:t> Triple- </a:t>
            </a:r>
            <a:r>
              <a:rPr lang="en-US" sz="800" dirty="0">
                <a:solidFill>
                  <a:srgbClr val="000000"/>
                </a:solidFill>
              </a:rPr>
              <a:t>Negative Breast Cancer; N </a:t>
            </a:r>
            <a:r>
              <a:rPr lang="en-US" sz="800" dirty="0" err="1">
                <a:solidFill>
                  <a:srgbClr val="000000"/>
                </a:solidFill>
              </a:rPr>
              <a:t>Engl</a:t>
            </a:r>
            <a:r>
              <a:rPr lang="en-US" sz="800" dirty="0">
                <a:solidFill>
                  <a:srgbClr val="000000"/>
                </a:solidFill>
              </a:rPr>
              <a:t> J Med</a:t>
            </a:r>
            <a:r>
              <a:rPr lang="cs-CZ" sz="800" dirty="0">
                <a:solidFill>
                  <a:srgbClr val="000000"/>
                </a:solidFill>
              </a:rPr>
              <a:t> 2018,379:2108-21.(</a:t>
            </a:r>
            <a:r>
              <a:rPr lang="cs-CZ" sz="800" dirty="0" err="1">
                <a:solidFill>
                  <a:srgbClr val="000000"/>
                </a:solidFill>
              </a:rPr>
              <a:t>Supplemantary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err="1">
                <a:solidFill>
                  <a:srgbClr val="000000"/>
                </a:solidFill>
              </a:rPr>
              <a:t>appendix</a:t>
            </a:r>
            <a:r>
              <a:rPr lang="cs-CZ" sz="800" dirty="0">
                <a:solidFill>
                  <a:srgbClr val="000000"/>
                </a:solidFill>
              </a:rPr>
              <a:t>)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222760" y="6165443"/>
            <a:ext cx="11378244" cy="267255"/>
          </a:xfrm>
        </p:spPr>
        <p:txBody>
          <a:bodyPr/>
          <a:lstStyle/>
          <a:p>
            <a:pPr lvl="0" defTabSz="914400" eaLnBrk="0" fontAlgn="base" hangingPunct="0">
              <a:spcBef>
                <a:spcPts val="0"/>
              </a:spcBef>
              <a:spcAft>
                <a:spcPct val="0"/>
              </a:spcAft>
              <a:defRPr>
                <a:uFillTx/>
              </a:defRPr>
            </a:pPr>
            <a:r>
              <a:rPr kumimoji="0" lang="en-GB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C = </a:t>
            </a:r>
            <a:r>
              <a:rPr lang="en-GB" sz="1000" i="0" dirty="0">
                <a:solidFill>
                  <a:srgbClr val="000000"/>
                </a:solidFill>
              </a:rPr>
              <a:t>tum</a:t>
            </a:r>
            <a:r>
              <a:rPr lang="cs-CZ" sz="1000" i="0" dirty="0" err="1">
                <a:solidFill>
                  <a:srgbClr val="000000"/>
                </a:solidFill>
              </a:rPr>
              <a:t>or</a:t>
            </a:r>
            <a:r>
              <a:rPr lang="cs-CZ" sz="1000" i="0" dirty="0">
                <a:solidFill>
                  <a:srgbClr val="000000"/>
                </a:solidFill>
              </a:rPr>
              <a:t> infiltrující imunitní buňky </a:t>
            </a:r>
            <a:r>
              <a:rPr kumimoji="0" lang="en-GB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RR = </a:t>
            </a:r>
            <a:r>
              <a:rPr kumimoji="0" lang="cs-CZ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bjektivní</a:t>
            </a:r>
            <a:r>
              <a:rPr kumimoji="0" lang="cs-CZ" sz="100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míra odpovědi</a:t>
            </a:r>
            <a:r>
              <a:rPr kumimoji="0" lang="en-GB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; OS = </a:t>
            </a:r>
            <a:r>
              <a:rPr lang="cs-CZ" sz="1000" i="0" dirty="0" smtClean="0">
                <a:solidFill>
                  <a:srgbClr val="000000"/>
                </a:solidFill>
              </a:rPr>
              <a:t>celkové přežití</a:t>
            </a:r>
            <a:r>
              <a:rPr kumimoji="0" lang="en-GB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; PFS = </a:t>
            </a:r>
            <a:r>
              <a:rPr kumimoji="0" lang="cs-CZ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řežití bez progrese, TNBC – triple negativní karcinom prsu, </a:t>
            </a:r>
            <a:r>
              <a:rPr kumimoji="0" lang="cs-CZ" sz="10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oR</a:t>
            </a:r>
            <a:r>
              <a:rPr kumimoji="0" lang="cs-CZ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– doba trvání odpovědi </a:t>
            </a:r>
            <a:endParaRPr kumimoji="0" lang="en-GB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7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8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7247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stupní charakteristiky studie IMpassion130</a:t>
            </a:r>
            <a:r>
              <a:rPr lang="cs-CZ" b="0" baseline="30000" dirty="0" smtClean="0"/>
              <a:t>1</a:t>
            </a:r>
            <a:endParaRPr lang="cs-CZ" dirty="0"/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0270103"/>
              </p:ext>
            </p:extLst>
          </p:nvPr>
        </p:nvGraphicFramePr>
        <p:xfrm>
          <a:off x="345511" y="1063834"/>
          <a:ext cx="6117633" cy="42547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3545">
                  <a:extLst>
                    <a:ext uri="{9D8B030D-6E8A-4147-A177-3AD203B41FA5}">
                      <a16:colId xmlns:a16="http://schemas.microsoft.com/office/drawing/2014/main" val="611189571"/>
                    </a:ext>
                  </a:extLst>
                </a:gridCol>
                <a:gridCol w="1925611">
                  <a:extLst>
                    <a:ext uri="{9D8B030D-6E8A-4147-A177-3AD203B41FA5}">
                      <a16:colId xmlns:a16="http://schemas.microsoft.com/office/drawing/2014/main" val="2746410458"/>
                    </a:ext>
                  </a:extLst>
                </a:gridCol>
                <a:gridCol w="1578477">
                  <a:extLst>
                    <a:ext uri="{9D8B030D-6E8A-4147-A177-3AD203B41FA5}">
                      <a16:colId xmlns:a16="http://schemas.microsoft.com/office/drawing/2014/main" val="3229120752"/>
                    </a:ext>
                  </a:extLst>
                </a:gridCol>
              </a:tblGrid>
              <a:tr h="70649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hara</a:t>
                      </a:r>
                      <a:r>
                        <a:rPr lang="cs-CZ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teristi</a:t>
                      </a:r>
                      <a:r>
                        <a:rPr lang="cs-CZ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ka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3600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N=451)</a:t>
                      </a:r>
                      <a:endParaRPr lang="en-US" sz="14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3600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lacebo</a:t>
                      </a:r>
                      <a: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b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N=451)</a:t>
                      </a:r>
                      <a:endParaRPr lang="en-US" sz="14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36000" anchor="b"/>
                </a:tc>
                <a:extLst>
                  <a:ext uri="{0D108BD9-81ED-4DB2-BD59-A6C34878D82A}">
                    <a16:rowId xmlns:a16="http://schemas.microsoft.com/office/drawing/2014/main" val="2902879546"/>
                  </a:ext>
                </a:extLst>
              </a:tr>
              <a:tr h="333074">
                <a:tc>
                  <a:txBody>
                    <a:bodyPr/>
                    <a:lstStyle/>
                    <a:p>
                      <a:pPr marL="209550" marR="0" indent="-2095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ián</a:t>
                      </a:r>
                      <a:r>
                        <a:rPr lang="cs-CZ" sz="14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věku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ozpětí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, 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věk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 (20–82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6 (26–86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320109313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Ž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 (%)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48 (99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50 (100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1774343294"/>
                  </a:ext>
                </a:extLst>
              </a:tr>
              <a:tr h="225133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opulace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%)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53323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ěloši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08 (68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01 (6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3105171203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siaté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85 (19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6 (1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3091181081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froameričané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6 (6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3 (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45809579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Ostatní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 (4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6 (6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578474481"/>
                  </a:ext>
                </a:extLst>
              </a:tr>
              <a:tr h="225133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COG PS, n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%)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8565952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56 (5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70 (60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308412872"/>
                  </a:ext>
                </a:extLst>
              </a:tr>
              <a:tr h="297195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93 (43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9 (40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687646543"/>
                  </a:ext>
                </a:extLst>
              </a:tr>
              <a:tr h="445917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ředchozí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eo)adjuvant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í</a:t>
                      </a:r>
                      <a:r>
                        <a:rPr lang="cs-CZ" sz="14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léčba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 (%)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84 (63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86 (63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21557363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ředchozí</a:t>
                      </a:r>
                      <a:r>
                        <a:rPr lang="cs-CZ" sz="14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léčba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taxan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y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31 (51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30 (51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1899485612"/>
                  </a:ext>
                </a:extLst>
              </a:tr>
              <a:tr h="445917"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ředchozí</a:t>
                      </a:r>
                      <a:r>
                        <a:rPr lang="cs-CZ" sz="14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léčba   </a:t>
                      </a:r>
                      <a:r>
                        <a:rPr lang="cs-CZ" sz="14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ntracykliny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43 (54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42 (54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329849695"/>
                  </a:ext>
                </a:extLst>
              </a:tr>
            </a:tbl>
          </a:graphicData>
        </a:graphic>
      </p:graphicFrame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7370927"/>
              </p:ext>
            </p:extLst>
          </p:nvPr>
        </p:nvGraphicFramePr>
        <p:xfrm>
          <a:off x="6813086" y="1074842"/>
          <a:ext cx="4959813" cy="42437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3271">
                  <a:extLst>
                    <a:ext uri="{9D8B030D-6E8A-4147-A177-3AD203B41FA5}">
                      <a16:colId xmlns:a16="http://schemas.microsoft.com/office/drawing/2014/main" val="611189571"/>
                    </a:ext>
                  </a:extLst>
                </a:gridCol>
                <a:gridCol w="1653271">
                  <a:extLst>
                    <a:ext uri="{9D8B030D-6E8A-4147-A177-3AD203B41FA5}">
                      <a16:colId xmlns:a16="http://schemas.microsoft.com/office/drawing/2014/main" val="334151953"/>
                    </a:ext>
                  </a:extLst>
                </a:gridCol>
                <a:gridCol w="1653271">
                  <a:extLst>
                    <a:ext uri="{9D8B030D-6E8A-4147-A177-3AD203B41FA5}">
                      <a16:colId xmlns:a16="http://schemas.microsoft.com/office/drawing/2014/main" val="1418955290"/>
                    </a:ext>
                  </a:extLst>
                </a:gridCol>
              </a:tblGrid>
              <a:tr h="71187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harakteristika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3600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cs-CZ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       </a:t>
                      </a:r>
                      <a:r>
                        <a:rPr lang="en-US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4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cs-CZ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-</a:t>
                      </a:r>
                      <a:r>
                        <a:rPr lang="cs-CZ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endParaRPr lang="cs-CZ" sz="1400" dirty="0" smtClean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N=451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  <a:endParaRPr lang="en-US" sz="14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3600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lacebo</a:t>
                      </a:r>
                      <a: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b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400" baseline="-2500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40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40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N=451)</a:t>
                      </a:r>
                      <a:endParaRPr lang="en-US" sz="14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36000" anchor="b"/>
                </a:tc>
                <a:extLst>
                  <a:ext uri="{0D108BD9-81ED-4DB2-BD59-A6C34878D82A}">
                    <a16:rowId xmlns:a16="http://schemas.microsoft.com/office/drawing/2014/main" val="2902879546"/>
                  </a:ext>
                </a:extLst>
              </a:tr>
              <a:tr h="44931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etastatické onemocnění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 (%)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04 (90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08 (91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320109313"/>
                  </a:ext>
                </a:extLst>
              </a:tr>
              <a:tr h="268628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očet zasažených lokalit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%)</a:t>
                      </a:r>
                      <a:endParaRPr lang="en-US" sz="1400" b="0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>
                        <a:effectLst/>
                        <a:latin typeface="Calibri" panose="020F0502020204030204" pitchFamily="34" charset="0"/>
                        <a:ea typeface="Batang" panose="02030600000101010101" pitchFamily="18" charset="-127"/>
                        <a:cs typeface="Times New Roman" panose="02020603050405020304" pitchFamily="18" charset="0"/>
                      </a:endParaRPr>
                    </a:p>
                  </a:txBody>
                  <a:tcPr marL="19706" marR="19706" marT="0" marB="0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 panose="020F0502020204030204" pitchFamily="34" charset="0"/>
                        <a:ea typeface="Batang" panose="02030600000101010101" pitchFamily="18" charset="-127"/>
                        <a:cs typeface="Times New Roman" panose="02020603050405020304" pitchFamily="18" charset="0"/>
                      </a:endParaRPr>
                    </a:p>
                  </a:txBody>
                  <a:tcPr marL="19706" marR="19706" marT="0" marB="0"/>
                </a:tc>
                <a:extLst>
                  <a:ext uri="{0D108BD9-81ED-4DB2-BD59-A6C34878D82A}">
                    <a16:rowId xmlns:a16="http://schemas.microsoft.com/office/drawing/2014/main" val="1774343294"/>
                  </a:ext>
                </a:extLst>
              </a:tr>
              <a:tr h="268628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–3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32 (74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41 (76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4120453323"/>
                  </a:ext>
                </a:extLst>
              </a:tr>
              <a:tr h="268628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≥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8 (26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08 (24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3105171203"/>
                  </a:ext>
                </a:extLst>
              </a:tr>
              <a:tr h="268628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Lokalizace metastáz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 (%)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/>
                </a:tc>
                <a:extLst>
                  <a:ext uri="{0D108BD9-81ED-4DB2-BD59-A6C34878D82A}">
                    <a16:rowId xmlns:a16="http://schemas.microsoft.com/office/drawing/2014/main" val="3091181081"/>
                  </a:ext>
                </a:extLst>
              </a:tr>
              <a:tr h="268628">
                <a:tc>
                  <a:txBody>
                    <a:bodyPr/>
                    <a:lstStyle/>
                    <a:p>
                      <a:pPr marL="285750" marR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líce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26 (50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42 (54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45809579"/>
                  </a:ext>
                </a:extLst>
              </a:tr>
              <a:tr h="268628">
                <a:tc>
                  <a:txBody>
                    <a:bodyPr/>
                    <a:lstStyle/>
                    <a:p>
                      <a:pPr marL="285750" marR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Kosti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45 (32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41 (31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578474481"/>
                  </a:ext>
                </a:extLst>
              </a:tr>
              <a:tr h="268628">
                <a:tc>
                  <a:txBody>
                    <a:bodyPr/>
                    <a:lstStyle/>
                    <a:p>
                      <a:pPr marL="285750" marR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Játra</a:t>
                      </a:r>
                      <a:endParaRPr lang="en-US" sz="1400" b="0" strike="sngStrike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26 (28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8 (26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298565952"/>
                  </a:ext>
                </a:extLst>
              </a:tr>
              <a:tr h="268628">
                <a:tc>
                  <a:txBody>
                    <a:bodyPr/>
                    <a:lstStyle/>
                    <a:p>
                      <a:pPr marL="285750" marR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ozek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0 (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1 (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308412872"/>
                  </a:ext>
                </a:extLst>
              </a:tr>
              <a:tr h="449310">
                <a:tc>
                  <a:txBody>
                    <a:bodyPr/>
                    <a:lstStyle/>
                    <a:p>
                      <a:pPr marL="285750" marR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Ly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fatické</a:t>
                      </a:r>
                      <a:r>
                        <a:rPr lang="cs-CZ" sz="14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      uzliny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3 (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3 (5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687646543"/>
                  </a:ext>
                </a:extLst>
              </a:tr>
              <a:tr h="484277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D-L1+ (IC), n (%)</a:t>
                      </a: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185 (41)</a:t>
                      </a: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184 (41)</a:t>
                      </a: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21557363"/>
                  </a:ext>
                </a:extLst>
              </a:tr>
            </a:tbl>
          </a:graphicData>
        </a:graphic>
      </p:graphicFrame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6047281"/>
              </p:ext>
            </p:extLst>
          </p:nvPr>
        </p:nvGraphicFramePr>
        <p:xfrm>
          <a:off x="301285" y="5566534"/>
          <a:ext cx="11401652" cy="708670"/>
        </p:xfrm>
        <a:graphic>
          <a:graphicData uri="http://schemas.openxmlformats.org/drawingml/2006/table">
            <a:tbl>
              <a:tblPr bandRow="1"/>
              <a:tblGrid>
                <a:gridCol w="2438558">
                  <a:extLst>
                    <a:ext uri="{9D8B030D-6E8A-4147-A177-3AD203B41FA5}">
                      <a16:colId xmlns:a16="http://schemas.microsoft.com/office/drawing/2014/main" val="3071733013"/>
                    </a:ext>
                  </a:extLst>
                </a:gridCol>
                <a:gridCol w="8963094">
                  <a:extLst>
                    <a:ext uri="{9D8B030D-6E8A-4147-A177-3AD203B41FA5}">
                      <a16:colId xmlns:a16="http://schemas.microsoft.com/office/drawing/2014/main" val="4238896249"/>
                    </a:ext>
                  </a:extLst>
                </a:gridCol>
              </a:tblGrid>
              <a:tr h="512814">
                <a:tc>
                  <a:txBody>
                    <a:bodyPr/>
                    <a:lstStyle>
                      <a:lvl1pPr marL="0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60887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1217747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826621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243549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3044368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3653242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4262115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4870989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r>
                        <a:rPr lang="cs-CZ" sz="1400" b="1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atifikační faktory</a:t>
                      </a:r>
                      <a:endParaRPr lang="en-US" sz="1400" b="1" dirty="0"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B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60887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1217747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826621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243549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3044368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3653242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4262115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4870989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řítomnost jaterních metastáz</a:t>
                      </a:r>
                      <a:endParaRPr lang="en-US" sz="1400" kern="1200" baseline="0" dirty="0"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ředchozí léčba </a:t>
                      </a:r>
                      <a:r>
                        <a:rPr lang="cs-CZ" sz="1400" kern="1200" baseline="0" dirty="0" err="1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xany</a:t>
                      </a:r>
                      <a:r>
                        <a:rPr lang="cs-CZ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 </a:t>
                      </a:r>
                      <a:r>
                        <a:rPr lang="cs-CZ" sz="1400" kern="1200" baseline="0" dirty="0" err="1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metastatické</a:t>
                      </a:r>
                      <a:r>
                        <a:rPr lang="cs-CZ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emocnění</a:t>
                      </a:r>
                      <a:endParaRPr lang="en-US" sz="1400" kern="1200" baseline="0" dirty="0"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D-L1 </a:t>
                      </a:r>
                      <a:r>
                        <a:rPr lang="cs-CZ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C status</a:t>
                      </a: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TW" sz="1400" kern="1200" baseline="0" noProof="0" dirty="0" err="1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</a:t>
                      </a:r>
                      <a:r>
                        <a:rPr lang="cs-CZ" altLang="zh-TW" sz="1400" kern="1200" baseline="0" noProof="0" dirty="0" err="1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zitivní</a:t>
                      </a:r>
                      <a:r>
                        <a:rPr lang="en-US" altLang="zh-TW" sz="1400" kern="1200" baseline="0" noProof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[≥1%] vs</a:t>
                      </a:r>
                      <a:r>
                        <a:rPr lang="cs-CZ" altLang="zh-TW" sz="1400" kern="1200" baseline="0" noProof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ativní</a:t>
                      </a:r>
                      <a:r>
                        <a:rPr lang="en-US" altLang="zh-TW" sz="1400" kern="1200" baseline="0" noProof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[&lt;1%]</a:t>
                      </a:r>
                      <a:endParaRPr lang="en-US" sz="1400" kern="1200" baseline="0" dirty="0"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B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0275736"/>
                  </a:ext>
                </a:extLst>
              </a:tr>
            </a:tbl>
          </a:graphicData>
        </a:graphic>
      </p:graphicFrame>
      <p:sp>
        <p:nvSpPr>
          <p:cNvPr id="10" name="Obdélník 9"/>
          <p:cNvSpPr/>
          <p:nvPr/>
        </p:nvSpPr>
        <p:spPr>
          <a:xfrm>
            <a:off x="0" y="6642556"/>
            <a:ext cx="1200422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</a:t>
            </a:r>
            <a:r>
              <a:rPr lang="cs-CZ" sz="800" b="1" dirty="0" smtClean="0">
                <a:solidFill>
                  <a:srgbClr val="000000"/>
                </a:solidFill>
              </a:rPr>
              <a:t>. </a:t>
            </a:r>
            <a:r>
              <a:rPr lang="cs-CZ" sz="800" dirty="0">
                <a:solidFill>
                  <a:srgbClr val="000000"/>
                </a:solidFill>
              </a:rPr>
              <a:t>P. Schmid, </a:t>
            </a:r>
            <a:r>
              <a:rPr lang="cs-CZ" sz="800" dirty="0" err="1">
                <a:solidFill>
                  <a:srgbClr val="000000"/>
                </a:solidFill>
              </a:rPr>
              <a:t>S.Adams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err="1">
                <a:solidFill>
                  <a:srgbClr val="000000"/>
                </a:solidFill>
              </a:rPr>
              <a:t>H.S.Rugo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smtClean="0">
                <a:solidFill>
                  <a:srgbClr val="000000"/>
                </a:solidFill>
              </a:rPr>
              <a:t>A </a:t>
            </a:r>
            <a:r>
              <a:rPr lang="cs-CZ" sz="800" dirty="0" err="1" smtClean="0">
                <a:solidFill>
                  <a:srgbClr val="000000"/>
                </a:solidFill>
              </a:rPr>
              <a:t>Schneeweiss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cs-CZ" sz="800" dirty="0">
                <a:solidFill>
                  <a:srgbClr val="000000"/>
                </a:solidFill>
              </a:rPr>
              <a:t>et al; </a:t>
            </a:r>
            <a:r>
              <a:rPr lang="cs-CZ" sz="800" dirty="0" err="1">
                <a:solidFill>
                  <a:srgbClr val="000000"/>
                </a:solidFill>
              </a:rPr>
              <a:t>Atezolizumab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smtClean="0">
                <a:solidFill>
                  <a:srgbClr val="000000"/>
                </a:solidFill>
              </a:rPr>
              <a:t>and </a:t>
            </a:r>
            <a:r>
              <a:rPr lang="cs-CZ" sz="800" dirty="0" err="1" smtClean="0">
                <a:solidFill>
                  <a:srgbClr val="000000"/>
                </a:solidFill>
              </a:rPr>
              <a:t>Nab-Paclitaxel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cs-CZ" sz="800" dirty="0">
                <a:solidFill>
                  <a:srgbClr val="000000"/>
                </a:solidFill>
              </a:rPr>
              <a:t>in </a:t>
            </a:r>
            <a:r>
              <a:rPr lang="cs-CZ" sz="800" dirty="0" err="1">
                <a:solidFill>
                  <a:srgbClr val="000000"/>
                </a:solidFill>
              </a:rPr>
              <a:t>Advanced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smtClean="0">
                <a:solidFill>
                  <a:srgbClr val="000000"/>
                </a:solidFill>
              </a:rPr>
              <a:t>Triple- </a:t>
            </a:r>
            <a:r>
              <a:rPr lang="en-US" sz="800" dirty="0" smtClean="0">
                <a:solidFill>
                  <a:srgbClr val="000000"/>
                </a:solidFill>
              </a:rPr>
              <a:t>Negative </a:t>
            </a:r>
            <a:r>
              <a:rPr lang="en-US" sz="800" dirty="0">
                <a:solidFill>
                  <a:srgbClr val="000000"/>
                </a:solidFill>
              </a:rPr>
              <a:t>Breast Cancer; N </a:t>
            </a:r>
            <a:r>
              <a:rPr lang="en-US" sz="800" dirty="0" err="1">
                <a:solidFill>
                  <a:srgbClr val="000000"/>
                </a:solidFill>
              </a:rPr>
              <a:t>Engl</a:t>
            </a:r>
            <a:r>
              <a:rPr lang="en-US" sz="800" dirty="0">
                <a:solidFill>
                  <a:srgbClr val="000000"/>
                </a:solidFill>
              </a:rPr>
              <a:t> J </a:t>
            </a:r>
            <a:r>
              <a:rPr lang="en-US" sz="800" dirty="0" smtClean="0">
                <a:solidFill>
                  <a:srgbClr val="000000"/>
                </a:solidFill>
              </a:rPr>
              <a:t>Med</a:t>
            </a:r>
            <a:r>
              <a:rPr lang="cs-CZ" sz="800" dirty="0" smtClean="0">
                <a:solidFill>
                  <a:srgbClr val="000000"/>
                </a:solidFill>
              </a:rPr>
              <a:t> 2018,379:2108-21.(</a:t>
            </a:r>
            <a:r>
              <a:rPr lang="cs-CZ" sz="800" dirty="0" err="1" smtClean="0">
                <a:solidFill>
                  <a:srgbClr val="000000"/>
                </a:solidFill>
              </a:rPr>
              <a:t>Supplemantary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cs-CZ" sz="800" dirty="0" err="1" smtClean="0">
                <a:solidFill>
                  <a:srgbClr val="000000"/>
                </a:solidFill>
              </a:rPr>
              <a:t>appendix</a:t>
            </a:r>
            <a:r>
              <a:rPr lang="cs-CZ" sz="800" dirty="0">
                <a:solidFill>
                  <a:srgbClr val="000000"/>
                </a:solidFill>
              </a:rPr>
              <a:t>)</a:t>
            </a: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Obráze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12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69105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>
          <a:xfrm>
            <a:off x="384464" y="336843"/>
            <a:ext cx="11349328" cy="691765"/>
          </a:xfrm>
        </p:spPr>
        <p:txBody>
          <a:bodyPr/>
          <a:lstStyle/>
          <a:p>
            <a:r>
              <a:rPr lang="en-US" dirty="0" err="1"/>
              <a:t>Algoritmus</a:t>
            </a:r>
            <a:r>
              <a:rPr lang="en-US" dirty="0"/>
              <a:t> </a:t>
            </a:r>
            <a:r>
              <a:rPr lang="cs-CZ" dirty="0"/>
              <a:t>hodnocení ve studii IMpassion130 při </a:t>
            </a:r>
            <a:r>
              <a:rPr lang="cs-CZ" dirty="0" smtClean="0"/>
              <a:t>použití </a:t>
            </a:r>
            <a:r>
              <a:rPr lang="cs-CZ" dirty="0" err="1" smtClean="0"/>
              <a:t>te</a:t>
            </a:r>
            <a:r>
              <a:rPr lang="en-US" dirty="0" err="1"/>
              <a:t>stu</a:t>
            </a:r>
            <a:r>
              <a:rPr lang="en-US" dirty="0"/>
              <a:t> </a:t>
            </a:r>
            <a:r>
              <a:rPr lang="cs-CZ" dirty="0" smtClean="0"/>
              <a:t/>
            </a:r>
            <a:br>
              <a:rPr lang="cs-CZ" dirty="0" smtClean="0"/>
            </a:br>
            <a:r>
              <a:rPr lang="en-US" dirty="0" smtClean="0"/>
              <a:t>V</a:t>
            </a:r>
            <a:r>
              <a:rPr lang="cs-CZ" dirty="0" err="1"/>
              <a:t>entana</a:t>
            </a:r>
            <a:r>
              <a:rPr lang="en-US" dirty="0"/>
              <a:t> </a:t>
            </a:r>
            <a:r>
              <a:rPr lang="cs-CZ" dirty="0" smtClean="0"/>
              <a:t>SP142</a:t>
            </a:r>
            <a:r>
              <a:rPr lang="en-US" dirty="0" smtClean="0"/>
              <a:t> </a:t>
            </a:r>
            <a:r>
              <a:rPr lang="cs-CZ" dirty="0" smtClean="0"/>
              <a:t>a </a:t>
            </a:r>
            <a:r>
              <a:rPr lang="cs-CZ" dirty="0"/>
              <a:t>hodnocení </a:t>
            </a:r>
            <a:r>
              <a:rPr lang="cs-CZ" dirty="0" smtClean="0"/>
              <a:t>PD-L1 na </a:t>
            </a:r>
            <a:r>
              <a:rPr lang="cs-CZ" dirty="0"/>
              <a:t>imunitních </a:t>
            </a:r>
            <a:r>
              <a:rPr lang="cs-CZ" dirty="0" smtClean="0"/>
              <a:t>buňkách</a:t>
            </a:r>
            <a:r>
              <a:rPr lang="cs-CZ" b="0" baseline="30000" dirty="0" smtClean="0"/>
              <a:t>1,2</a:t>
            </a:r>
            <a:endParaRPr lang="cs-CZ" dirty="0"/>
          </a:p>
        </p:txBody>
      </p:sp>
      <p:graphicFrame>
        <p:nvGraphicFramePr>
          <p:cNvPr id="7" name="Table 10">
            <a:extLst>
              <a:ext uri="{FF2B5EF4-FFF2-40B4-BE49-F238E27FC236}">
                <a16:creationId xmlns:a16="http://schemas.microsoft.com/office/drawing/2014/main" id="{AEA804F3-E7B9-453E-B1B9-A3E8F4B3F0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5104068"/>
              </p:ext>
            </p:extLst>
          </p:nvPr>
        </p:nvGraphicFramePr>
        <p:xfrm>
          <a:off x="384464" y="2394339"/>
          <a:ext cx="6452754" cy="308810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226377">
                  <a:extLst>
                    <a:ext uri="{9D8B030D-6E8A-4147-A177-3AD203B41FA5}">
                      <a16:colId xmlns:a16="http://schemas.microsoft.com/office/drawing/2014/main" val="3018412589"/>
                    </a:ext>
                  </a:extLst>
                </a:gridCol>
                <a:gridCol w="3226377">
                  <a:extLst>
                    <a:ext uri="{9D8B030D-6E8A-4147-A177-3AD203B41FA5}">
                      <a16:colId xmlns:a16="http://schemas.microsoft.com/office/drawing/2014/main" val="1446576611"/>
                    </a:ext>
                  </a:extLst>
                </a:gridCol>
              </a:tblGrid>
              <a:tr h="723883"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D-L1 IHC (SP142) </a:t>
                      </a:r>
                      <a:r>
                        <a:rPr lang="cs-CZ" sz="1600" b="1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test</a:t>
                      </a:r>
                      <a:r>
                        <a:rPr lang="en-US" sz="1600" b="1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600" b="1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</a:br>
                      <a:r>
                        <a:rPr lang="en-US" sz="1600" b="1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VENTANA </a:t>
                      </a:r>
                      <a:r>
                        <a:rPr kumimoji="0" lang="cs-CZ" sz="1600" b="1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Imago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600" b="1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 </a:t>
                      </a:r>
                      <a:endParaRPr lang="en-US" sz="1600" b="1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C2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600" b="1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3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737675"/>
                  </a:ext>
                </a:extLst>
              </a:tr>
              <a:tr h="339611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D-L1 </a:t>
                      </a:r>
                      <a:r>
                        <a:rPr lang="cs-CZ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 IC</a:t>
                      </a:r>
                      <a:r>
                        <a:rPr lang="cs-CZ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 </a:t>
                      </a:r>
                      <a:endParaRPr lang="en-US" sz="1600" b="1" baseline="30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C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D-L1 </a:t>
                      </a:r>
                      <a:r>
                        <a:rPr lang="cs-CZ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na 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TC</a:t>
                      </a:r>
                      <a:endParaRPr lang="en-US" sz="1600" b="1" baseline="30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C2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235411"/>
                  </a:ext>
                </a:extLst>
              </a:tr>
              <a:tr h="2024608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7576760"/>
                  </a:ext>
                </a:extLst>
              </a:tr>
            </a:tbl>
          </a:graphicData>
        </a:graphic>
      </p:graphicFrame>
      <p:graphicFrame>
        <p:nvGraphicFramePr>
          <p:cNvPr id="8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0917046"/>
              </p:ext>
            </p:extLst>
          </p:nvPr>
        </p:nvGraphicFramePr>
        <p:xfrm>
          <a:off x="7456825" y="2394339"/>
          <a:ext cx="3619884" cy="30881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8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11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0541">
                <a:tc gridSpan="2"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PD-L1 IC </a:t>
                      </a:r>
                      <a:r>
                        <a:rPr lang="en-GB" sz="1600" dirty="0" smtClean="0">
                          <a:latin typeface="+mn-lt"/>
                        </a:rPr>
                        <a:t>s</a:t>
                      </a:r>
                      <a:r>
                        <a:rPr lang="cs-CZ" sz="1600" dirty="0" err="1" smtClean="0">
                          <a:latin typeface="+mn-lt"/>
                        </a:rPr>
                        <a:t>kórovací</a:t>
                      </a:r>
                      <a:r>
                        <a:rPr lang="en-GB" sz="1600" dirty="0" smtClean="0">
                          <a:latin typeface="+mn-lt"/>
                        </a:rPr>
                        <a:t> </a:t>
                      </a:r>
                      <a:r>
                        <a:rPr lang="cs-CZ" sz="1600" dirty="0" err="1" smtClean="0">
                          <a:latin typeface="+mn-lt"/>
                        </a:rPr>
                        <a:t>kri</a:t>
                      </a:r>
                      <a:r>
                        <a:rPr lang="en-GB" sz="1600" dirty="0" smtClean="0">
                          <a:latin typeface="+mn-lt"/>
                        </a:rPr>
                        <a:t>t</a:t>
                      </a:r>
                      <a:r>
                        <a:rPr lang="cs-CZ" sz="1600" dirty="0" smtClean="0">
                          <a:latin typeface="+mn-lt"/>
                        </a:rPr>
                        <a:t>é</a:t>
                      </a:r>
                      <a:r>
                        <a:rPr lang="en-GB" sz="1600" dirty="0" smtClean="0">
                          <a:latin typeface="+mn-lt"/>
                        </a:rPr>
                        <a:t>ria</a:t>
                      </a:r>
                      <a:r>
                        <a:rPr kumimoji="0" lang="en-US" sz="1600" b="1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GB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5398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rgbClr val="000000"/>
                          </a:solidFill>
                          <a:latin typeface="+mn-lt"/>
                        </a:rPr>
                        <a:t>IC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rgbClr val="000000"/>
                          </a:solidFill>
                          <a:latin typeface="+mn-lt"/>
                        </a:rPr>
                        <a:t>% </a:t>
                      </a:r>
                      <a:r>
                        <a:rPr lang="cs-CZ" sz="16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plochy nádoru</a:t>
                      </a:r>
                      <a:endParaRPr lang="en-GB" sz="1600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0541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IC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&lt;1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0541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IC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≥1% </a:t>
                      </a:r>
                      <a:r>
                        <a:rPr lang="en-GB" sz="1600" dirty="0" smtClean="0">
                          <a:latin typeface="+mn-lt"/>
                        </a:rPr>
                        <a:t>a </a:t>
                      </a:r>
                      <a:r>
                        <a:rPr lang="en-GB" sz="1600" dirty="0">
                          <a:latin typeface="+mn-lt"/>
                        </a:rPr>
                        <a:t>&lt;5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0541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IC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latin typeface="+mn-lt"/>
                        </a:rPr>
                        <a:t>≥5% </a:t>
                      </a:r>
                      <a:r>
                        <a:rPr lang="en-GB" sz="1600" dirty="0" smtClean="0">
                          <a:latin typeface="+mn-lt"/>
                        </a:rPr>
                        <a:t>a </a:t>
                      </a:r>
                      <a:r>
                        <a:rPr lang="en-GB" sz="1600" dirty="0">
                          <a:latin typeface="+mn-lt"/>
                        </a:rPr>
                        <a:t>&lt;1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0541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IC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latin typeface="+mn-lt"/>
                        </a:rPr>
                        <a:t>≥1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TextBox 7">
            <a:extLst>
              <a:ext uri="{FF2B5EF4-FFF2-40B4-BE49-F238E27FC236}">
                <a16:creationId xmlns:a16="http://schemas.microsoft.com/office/drawing/2014/main" id="{26AB65D3-F71D-46F1-856B-7C3531C975AD}"/>
              </a:ext>
            </a:extLst>
          </p:cNvPr>
          <p:cNvSpPr txBox="1"/>
          <p:nvPr/>
        </p:nvSpPr>
        <p:spPr>
          <a:xfrm>
            <a:off x="-58189" y="5500053"/>
            <a:ext cx="4462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PD-L1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C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&gt;1%</a:t>
            </a:r>
            <a:r>
              <a:rPr kumimoji="0" lang="cs-CZ" sz="18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Obdélník 3"/>
          <p:cNvSpPr/>
          <p:nvPr/>
        </p:nvSpPr>
        <p:spPr>
          <a:xfrm>
            <a:off x="293024" y="1409530"/>
            <a:ext cx="1070758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Ve studii 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IMpassion130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 </a:t>
            </a:r>
            <a:r>
              <a:rPr lang="cs-CZ" dirty="0" smtClean="0"/>
              <a:t>byla potvrzena exprese PD-L1 u </a:t>
            </a: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41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%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pacientů                                               </a:t>
            </a:r>
            <a:r>
              <a:rPr kumimoji="0" lang="cs-CZ" sz="18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(definováno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 jako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exprese PD-L1 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≥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1%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na tumor infiltrujících imunitních buňkách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)</a:t>
            </a:r>
            <a:r>
              <a:rPr kumimoji="0" lang="cs-CZ" sz="1800" b="0" i="0" u="none" strike="noStrike" kern="1200" cap="none" spc="0" normalizeH="0" baseline="30000" noProof="0" dirty="0" smtClean="0">
                <a:ln>
                  <a:noFill/>
                </a:ln>
                <a:effectLst/>
                <a:uLnTx/>
                <a:uFillTx/>
              </a:rPr>
              <a:t>2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cs-CZ" baseline="30000" dirty="0">
              <a:solidFill>
                <a:srgbClr val="000000"/>
              </a:solidFill>
              <a:latin typeface="Imago" pitchFamily="2" charset="0"/>
            </a:endParaRPr>
          </a:p>
        </p:txBody>
      </p:sp>
      <p:pic>
        <p:nvPicPr>
          <p:cNvPr id="13" name="Picture 11">
            <a:extLst>
              <a:ext uri="{FF2B5EF4-FFF2-40B4-BE49-F238E27FC236}">
                <a16:creationId xmlns:a16="http://schemas.microsoft.com/office/drawing/2014/main" id="{C280DE50-E823-4618-A33A-940C044AE00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354" r="6006" b="35587"/>
          <a:stretch/>
        </p:blipFill>
        <p:spPr>
          <a:xfrm>
            <a:off x="521756" y="3708222"/>
            <a:ext cx="3098372" cy="1538633"/>
          </a:xfrm>
          <a:prstGeom prst="rect">
            <a:avLst/>
          </a:prstGeom>
        </p:spPr>
      </p:pic>
      <p:pic>
        <p:nvPicPr>
          <p:cNvPr id="14" name="Picture 12">
            <a:extLst>
              <a:ext uri="{FF2B5EF4-FFF2-40B4-BE49-F238E27FC236}">
                <a16:creationId xmlns:a16="http://schemas.microsoft.com/office/drawing/2014/main" id="{F8B74A3E-CAA5-4DC8-A55B-B56CED1D4DA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355" r="6739" b="35581"/>
          <a:stretch/>
        </p:blipFill>
        <p:spPr>
          <a:xfrm>
            <a:off x="3626428" y="3697304"/>
            <a:ext cx="3119482" cy="1539360"/>
          </a:xfrm>
          <a:prstGeom prst="rect">
            <a:avLst/>
          </a:prstGeom>
        </p:spPr>
      </p:pic>
      <p:sp>
        <p:nvSpPr>
          <p:cNvPr id="17" name="Obdélník 16"/>
          <p:cNvSpPr/>
          <p:nvPr/>
        </p:nvSpPr>
        <p:spPr>
          <a:xfrm>
            <a:off x="0" y="6355797"/>
            <a:ext cx="120042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 smtClean="0">
                <a:solidFill>
                  <a:srgbClr val="000000"/>
                </a:solidFill>
              </a:rPr>
              <a:t>IC – imunitní buňky, TC – tumorové buňky, IHC- </a:t>
            </a:r>
            <a:r>
              <a:rPr lang="cs-CZ" sz="1000" dirty="0" err="1" smtClean="0">
                <a:solidFill>
                  <a:srgbClr val="000000"/>
                </a:solidFill>
              </a:rPr>
              <a:t>imunohistochemie</a:t>
            </a:r>
            <a:r>
              <a:rPr lang="cs-CZ" sz="1000" dirty="0" smtClean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rPr>
              <a:t> 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9" name="Obdélník 18"/>
          <p:cNvSpPr/>
          <p:nvPr/>
        </p:nvSpPr>
        <p:spPr>
          <a:xfrm>
            <a:off x="0" y="6642556"/>
            <a:ext cx="1200422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</a:t>
            </a:r>
            <a:r>
              <a:rPr lang="cs-CZ" sz="800" dirty="0" smtClean="0">
                <a:solidFill>
                  <a:srgbClr val="000000"/>
                </a:solidFill>
                <a:cs typeface="Arial" pitchFamily="34" charset="0"/>
              </a:rPr>
              <a:t>. </a:t>
            </a:r>
            <a:r>
              <a:rPr lang="fr-FR" sz="800" dirty="0" err="1">
                <a:solidFill>
                  <a:srgbClr val="000000"/>
                </a:solidFill>
                <a:cs typeface="Arial" pitchFamily="34" charset="0"/>
              </a:rPr>
              <a:t>Emens</a:t>
            </a:r>
            <a:r>
              <a:rPr lang="fr-FR" sz="800" dirty="0">
                <a:solidFill>
                  <a:srgbClr val="000000"/>
                </a:solidFill>
                <a:cs typeface="Arial" pitchFamily="34" charset="0"/>
              </a:rPr>
              <a:t>, et al. SABCS 2018 (Abstract GS1-04</a:t>
            </a:r>
            <a:r>
              <a:rPr lang="fr-FR" sz="800" dirty="0" smtClean="0">
                <a:solidFill>
                  <a:srgbClr val="000000"/>
                </a:solidFill>
                <a:cs typeface="Arial" pitchFamily="34" charset="0"/>
              </a:rPr>
              <a:t>)</a:t>
            </a:r>
            <a:r>
              <a:rPr lang="cs-CZ" sz="800" dirty="0" smtClean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cs-CZ" sz="800" dirty="0" smtClean="0">
                <a:solidFill>
                  <a:srgbClr val="000000"/>
                </a:solidFill>
              </a:rPr>
              <a:t>   2</a:t>
            </a:r>
            <a:r>
              <a:rPr lang="cs-CZ" sz="800" b="1" dirty="0">
                <a:solidFill>
                  <a:srgbClr val="000000"/>
                </a:solidFill>
              </a:rPr>
              <a:t>. </a:t>
            </a:r>
            <a:r>
              <a:rPr lang="cs-CZ" sz="800" dirty="0">
                <a:solidFill>
                  <a:srgbClr val="000000"/>
                </a:solidFill>
              </a:rPr>
              <a:t>P. Schmid, </a:t>
            </a:r>
            <a:r>
              <a:rPr lang="cs-CZ" sz="800" dirty="0" err="1">
                <a:solidFill>
                  <a:srgbClr val="000000"/>
                </a:solidFill>
              </a:rPr>
              <a:t>S.Adams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err="1">
                <a:solidFill>
                  <a:srgbClr val="000000"/>
                </a:solidFill>
              </a:rPr>
              <a:t>H.S.Rugo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smtClean="0">
                <a:solidFill>
                  <a:srgbClr val="000000"/>
                </a:solidFill>
              </a:rPr>
              <a:t>A </a:t>
            </a:r>
            <a:r>
              <a:rPr lang="cs-CZ" sz="800" dirty="0" err="1" smtClean="0">
                <a:solidFill>
                  <a:srgbClr val="000000"/>
                </a:solidFill>
              </a:rPr>
              <a:t>Schneeweiss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cs-CZ" sz="800" dirty="0">
                <a:solidFill>
                  <a:srgbClr val="000000"/>
                </a:solidFill>
              </a:rPr>
              <a:t>et al; </a:t>
            </a:r>
            <a:r>
              <a:rPr lang="cs-CZ" sz="800" dirty="0" err="1">
                <a:solidFill>
                  <a:srgbClr val="000000"/>
                </a:solidFill>
              </a:rPr>
              <a:t>Atezolizumab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smtClean="0">
                <a:solidFill>
                  <a:srgbClr val="000000"/>
                </a:solidFill>
              </a:rPr>
              <a:t>and </a:t>
            </a:r>
            <a:r>
              <a:rPr lang="cs-CZ" sz="800" dirty="0" err="1" smtClean="0">
                <a:solidFill>
                  <a:srgbClr val="000000"/>
                </a:solidFill>
              </a:rPr>
              <a:t>Nab-Paclitaxel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cs-CZ" sz="800" dirty="0">
                <a:solidFill>
                  <a:srgbClr val="000000"/>
                </a:solidFill>
              </a:rPr>
              <a:t>in </a:t>
            </a:r>
            <a:r>
              <a:rPr lang="cs-CZ" sz="800" dirty="0" err="1">
                <a:solidFill>
                  <a:srgbClr val="000000"/>
                </a:solidFill>
              </a:rPr>
              <a:t>Advanced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smtClean="0">
                <a:solidFill>
                  <a:srgbClr val="000000"/>
                </a:solidFill>
              </a:rPr>
              <a:t>Triple- </a:t>
            </a:r>
            <a:r>
              <a:rPr lang="en-US" sz="800" dirty="0" smtClean="0">
                <a:solidFill>
                  <a:srgbClr val="000000"/>
                </a:solidFill>
              </a:rPr>
              <a:t>Negative </a:t>
            </a:r>
            <a:r>
              <a:rPr lang="en-US" sz="800" dirty="0">
                <a:solidFill>
                  <a:srgbClr val="000000"/>
                </a:solidFill>
              </a:rPr>
              <a:t>Breast Cancer; N </a:t>
            </a:r>
            <a:r>
              <a:rPr lang="en-US" sz="800" dirty="0" err="1">
                <a:solidFill>
                  <a:srgbClr val="000000"/>
                </a:solidFill>
              </a:rPr>
              <a:t>Engl</a:t>
            </a:r>
            <a:r>
              <a:rPr lang="en-US" sz="800" dirty="0">
                <a:solidFill>
                  <a:srgbClr val="000000"/>
                </a:solidFill>
              </a:rPr>
              <a:t> J </a:t>
            </a:r>
            <a:r>
              <a:rPr lang="en-US" sz="800" dirty="0" smtClean="0">
                <a:solidFill>
                  <a:srgbClr val="000000"/>
                </a:solidFill>
              </a:rPr>
              <a:t>Med</a:t>
            </a:r>
            <a:r>
              <a:rPr lang="cs-CZ" sz="800" dirty="0" smtClean="0">
                <a:solidFill>
                  <a:srgbClr val="000000"/>
                </a:solidFill>
              </a:rPr>
              <a:t> 2018,379:2108-21.(</a:t>
            </a:r>
            <a:r>
              <a:rPr lang="cs-CZ" sz="800" dirty="0" err="1" smtClean="0">
                <a:solidFill>
                  <a:srgbClr val="000000"/>
                </a:solidFill>
              </a:rPr>
              <a:t>Supplemantary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cs-CZ" sz="800" dirty="0" err="1" smtClean="0">
                <a:solidFill>
                  <a:srgbClr val="000000"/>
                </a:solidFill>
              </a:rPr>
              <a:t>appendix</a:t>
            </a:r>
            <a:r>
              <a:rPr lang="cs-CZ" sz="800" dirty="0">
                <a:solidFill>
                  <a:srgbClr val="000000"/>
                </a:solidFill>
              </a:rPr>
              <a:t>)</a:t>
            </a: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2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15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14982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</a:t>
            </a:r>
            <a:r>
              <a:rPr lang="cs-CZ" dirty="0" err="1" smtClean="0"/>
              <a:t>rodloužení</a:t>
            </a:r>
            <a:r>
              <a:rPr lang="cs-CZ" dirty="0" smtClean="0"/>
              <a:t> PFS na 7,2 měsíce u</a:t>
            </a:r>
            <a:r>
              <a:rPr lang="en-US" dirty="0" smtClean="0"/>
              <a:t> </a:t>
            </a:r>
            <a:r>
              <a:rPr lang="en-US" dirty="0"/>
              <a:t>ITT </a:t>
            </a:r>
            <a:r>
              <a:rPr lang="en-US" dirty="0" err="1"/>
              <a:t>popula</a:t>
            </a:r>
            <a:r>
              <a:rPr lang="cs-CZ" dirty="0" smtClean="0"/>
              <a:t>ce</a:t>
            </a:r>
            <a:r>
              <a:rPr lang="cs-CZ" b="0" baseline="30000" dirty="0" smtClean="0"/>
              <a:t>1</a:t>
            </a:r>
            <a:endParaRPr lang="cs-CZ" dirty="0"/>
          </a:p>
        </p:txBody>
      </p:sp>
      <p:graphicFrame>
        <p:nvGraphicFramePr>
          <p:cNvPr id="6" name="Table 16">
            <a:extLst>
              <a:ext uri="{FF2B5EF4-FFF2-40B4-BE49-F238E27FC236}">
                <a16:creationId xmlns:a16="http://schemas.microsoft.com/office/drawing/2014/main" id="{1321E8B7-3E64-4FAD-9607-C2F34C84EB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5228574"/>
              </p:ext>
            </p:extLst>
          </p:nvPr>
        </p:nvGraphicFramePr>
        <p:xfrm>
          <a:off x="7642879" y="1134835"/>
          <a:ext cx="3980862" cy="1205276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208143">
                  <a:extLst>
                    <a:ext uri="{9D8B030D-6E8A-4147-A177-3AD203B41FA5}">
                      <a16:colId xmlns:a16="http://schemas.microsoft.com/office/drawing/2014/main" val="2380695724"/>
                    </a:ext>
                  </a:extLst>
                </a:gridCol>
                <a:gridCol w="1532100">
                  <a:extLst>
                    <a:ext uri="{9D8B030D-6E8A-4147-A177-3AD203B41FA5}">
                      <a16:colId xmlns:a16="http://schemas.microsoft.com/office/drawing/2014/main" val="3018412589"/>
                    </a:ext>
                  </a:extLst>
                </a:gridCol>
                <a:gridCol w="1240619">
                  <a:extLst>
                    <a:ext uri="{9D8B030D-6E8A-4147-A177-3AD203B41FA5}">
                      <a16:colId xmlns:a16="http://schemas.microsoft.com/office/drawing/2014/main" val="3973698329"/>
                    </a:ext>
                  </a:extLst>
                </a:gridCol>
              </a:tblGrid>
              <a:tr h="53546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chemeClr val="tx1">
                            <a:lumMod val="20000"/>
                            <a:lumOff val="80000"/>
                          </a:schemeClr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US" sz="12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2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endParaRPr lang="cs-CZ" sz="1200" baseline="-25000" dirty="0" smtClean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N=451)</a:t>
                      </a:r>
                      <a:endParaRPr lang="en-US" sz="12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C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lacebo</a:t>
                      </a:r>
                      <a:r>
                        <a:rPr lang="en-US" sz="12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2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N=451)</a:t>
                      </a:r>
                      <a:endParaRPr lang="en-US" sz="12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3A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56661"/>
                  </a:ext>
                </a:extLst>
              </a:tr>
              <a:tr h="241200">
                <a:tc>
                  <a:txBody>
                    <a:bodyPr/>
                    <a:lstStyle/>
                    <a:p>
                      <a:pPr marL="117475" marR="0" lvl="0" indent="-1174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FS </a:t>
                      </a:r>
                      <a:r>
                        <a:rPr lang="cs-CZ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říhody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</a:t>
                      </a:r>
                      <a:endParaRPr lang="en-US" sz="12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358</a:t>
                      </a: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378</a:t>
                      </a: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854526"/>
                  </a:ext>
                </a:extLst>
              </a:tr>
              <a:tr h="415436">
                <a:tc>
                  <a:txBody>
                    <a:bodyPr/>
                    <a:lstStyle/>
                    <a:p>
                      <a:pPr marL="117475" marR="0" lvl="0" indent="-1174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-</a:t>
                      </a:r>
                      <a:r>
                        <a:rPr lang="cs-CZ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ok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FS</a:t>
                      </a:r>
                      <a:b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95% CI), %</a:t>
                      </a:r>
                      <a:endParaRPr lang="en-US" sz="12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24</a:t>
                      </a:r>
                      <a:b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(20, 28)</a:t>
                      </a: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18</a:t>
                      </a:r>
                      <a:b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(14, 21)</a:t>
                      </a: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022953"/>
                  </a:ext>
                </a:extLst>
              </a:tr>
            </a:tbl>
          </a:graphicData>
        </a:graphic>
      </p:graphicFrame>
      <p:pic>
        <p:nvPicPr>
          <p:cNvPr id="7" name="Picture 57">
            <a:extLst>
              <a:ext uri="{FF2B5EF4-FFF2-40B4-BE49-F238E27FC236}">
                <a16:creationId xmlns:a16="http://schemas.microsoft.com/office/drawing/2014/main" id="{8E941A09-C92C-4CE8-8275-088B70B018CD}"/>
              </a:ext>
            </a:extLst>
          </p:cNvPr>
          <p:cNvPicPr>
            <a:picLocks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17755" y="1657450"/>
            <a:ext cx="6902083" cy="3294864"/>
          </a:xfrm>
          <a:prstGeom prst="rect">
            <a:avLst/>
          </a:prstGeom>
          <a:noFill/>
        </p:spPr>
      </p:pic>
      <p:graphicFrame>
        <p:nvGraphicFramePr>
          <p:cNvPr id="8" name="Table 79">
            <a:extLst>
              <a:ext uri="{FF2B5EF4-FFF2-40B4-BE49-F238E27FC236}">
                <a16:creationId xmlns:a16="http://schemas.microsoft.com/office/drawing/2014/main" id="{2CEC4690-749D-4228-B9A3-C9E0B68C55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19027"/>
              </p:ext>
            </p:extLst>
          </p:nvPr>
        </p:nvGraphicFramePr>
        <p:xfrm>
          <a:off x="1259914" y="5007207"/>
          <a:ext cx="8366224" cy="1266045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509167">
                  <a:extLst>
                    <a:ext uri="{9D8B030D-6E8A-4147-A177-3AD203B41FA5}">
                      <a16:colId xmlns:a16="http://schemas.microsoft.com/office/drawing/2014/main" val="678281751"/>
                    </a:ext>
                  </a:extLst>
                </a:gridCol>
                <a:gridCol w="522113">
                  <a:extLst>
                    <a:ext uri="{9D8B030D-6E8A-4147-A177-3AD203B41FA5}">
                      <a16:colId xmlns:a16="http://schemas.microsoft.com/office/drawing/2014/main" val="2748423136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671682577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4035372247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350786550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3615889726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2529375203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2807049003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3669458763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2998332033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3714365567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487982840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2303594697"/>
                    </a:ext>
                  </a:extLst>
                </a:gridCol>
              </a:tblGrid>
              <a:tr h="310286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149616"/>
                  </a:ext>
                </a:extLst>
              </a:tr>
              <a:tr h="310286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Doba (měsíce)</a:t>
                      </a:r>
                      <a:endParaRPr lang="en-US" sz="14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9931495"/>
                  </a:ext>
                </a:extLst>
              </a:tr>
              <a:tr h="252379">
                <a:tc>
                  <a:txBody>
                    <a:bodyPr/>
                    <a:lstStyle/>
                    <a:p>
                      <a:pPr algn="r">
                        <a:lnSpc>
                          <a:spcPct val="50000"/>
                        </a:lnSpc>
                      </a:pPr>
                      <a:r>
                        <a:rPr lang="cs-CZ" sz="1200" b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Počet</a:t>
                      </a:r>
                      <a:r>
                        <a:rPr lang="cs-CZ" sz="1200" b="0" baseline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 pacientů v riziku</a:t>
                      </a: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:</a:t>
                      </a: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rgbClr val="000000"/>
                        </a:solidFill>
                        <a:latin typeface="Imago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3182417"/>
                  </a:ext>
                </a:extLst>
              </a:tr>
              <a:tr h="219870">
                <a:tc>
                  <a:txBody>
                    <a:bodyPr/>
                    <a:lstStyle/>
                    <a:p>
                      <a:pPr algn="l">
                        <a:lnSpc>
                          <a:spcPct val="70000"/>
                        </a:lnSpc>
                      </a:pPr>
                      <a:r>
                        <a:rPr lang="en-US" sz="1000" b="1" dirty="0" err="1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Atezolizumab</a:t>
                      </a:r>
                      <a:endParaRPr lang="cs-CZ" sz="1000" b="1" dirty="0" smtClean="0">
                        <a:solidFill>
                          <a:srgbClr val="85C2FF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ct val="70000"/>
                        </a:lnSpc>
                      </a:pPr>
                      <a:r>
                        <a:rPr lang="en-US" sz="1000" b="1" dirty="0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+ nab</a:t>
                      </a:r>
                      <a:r>
                        <a:rPr lang="cs-CZ" sz="1000" b="1" dirty="0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-</a:t>
                      </a:r>
                      <a:r>
                        <a:rPr lang="cs-CZ" sz="1000" b="1" dirty="0" err="1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paclitaxel</a:t>
                      </a:r>
                      <a:endParaRPr lang="en-US" sz="1000" b="1" dirty="0">
                        <a:solidFill>
                          <a:srgbClr val="85C2FF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6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2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endParaRPr lang="en-US" sz="120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2731865"/>
                  </a:ext>
                </a:extLst>
              </a:tr>
              <a:tr h="173224"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Placebo </a:t>
                      </a:r>
                      <a:r>
                        <a:rPr lang="en-US" sz="1000" b="1" dirty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000" b="1" dirty="0" smtClean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000" b="1" dirty="0" err="1" smtClean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paklitaxel</a:t>
                      </a:r>
                      <a:endParaRPr lang="en-US" sz="1000" b="1" dirty="0">
                        <a:solidFill>
                          <a:srgbClr val="EA3A3A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3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6576813"/>
                  </a:ext>
                </a:extLst>
              </a:tr>
            </a:tbl>
          </a:graphicData>
        </a:graphic>
      </p:graphicFrame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EEB3F741-8A2B-4DF6-90B0-4FF25095F7D0}"/>
              </a:ext>
            </a:extLst>
          </p:cNvPr>
          <p:cNvSpPr txBox="1">
            <a:spLocks/>
          </p:cNvSpPr>
          <p:nvPr/>
        </p:nvSpPr>
        <p:spPr>
          <a:xfrm>
            <a:off x="0" y="6596741"/>
            <a:ext cx="12192000" cy="2395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Imago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rgbClr val="000000"/>
                </a:solidFill>
                <a:latin typeface="+mn-lt"/>
              </a:rPr>
              <a:t>Data cut-off: 17 April 2018. </a:t>
            </a:r>
            <a:br>
              <a:rPr lang="en-GB" sz="800" dirty="0">
                <a:solidFill>
                  <a:srgbClr val="000000"/>
                </a:solidFill>
                <a:latin typeface="+mn-lt"/>
              </a:rPr>
            </a:br>
            <a:r>
              <a:rPr lang="cs-CZ" sz="800" dirty="0">
                <a:solidFill>
                  <a:srgbClr val="000000"/>
                </a:solidFill>
                <a:latin typeface="+mn-lt"/>
              </a:rPr>
              <a:t>1. </a:t>
            </a:r>
            <a:r>
              <a:rPr lang="cs-CZ" sz="800" dirty="0" smtClean="0">
                <a:solidFill>
                  <a:srgbClr val="000000"/>
                </a:solidFill>
                <a:latin typeface="+mn-lt"/>
              </a:rPr>
              <a:t>P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. Schmid,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S.Adams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,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H.S.Rugo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, A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Schneeweiss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 et al;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Atezolizumab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 and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Nab-Paclitaxel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 in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Advanced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 Triple- </a:t>
            </a:r>
            <a:r>
              <a:rPr lang="en-US" sz="800" dirty="0">
                <a:solidFill>
                  <a:srgbClr val="000000"/>
                </a:solidFill>
                <a:latin typeface="+mn-lt"/>
              </a:rPr>
              <a:t>Negative Breast Cancer; N </a:t>
            </a:r>
            <a:r>
              <a:rPr lang="en-US" sz="800" dirty="0" err="1">
                <a:solidFill>
                  <a:srgbClr val="000000"/>
                </a:solidFill>
                <a:latin typeface="+mn-lt"/>
              </a:rPr>
              <a:t>Engl</a:t>
            </a:r>
            <a:r>
              <a:rPr lang="en-US" sz="800" dirty="0">
                <a:solidFill>
                  <a:srgbClr val="000000"/>
                </a:solidFill>
                <a:latin typeface="+mn-lt"/>
              </a:rPr>
              <a:t> J Med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 2018,379:2108-21.(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Supplemantary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appendix</a:t>
            </a:r>
            <a:r>
              <a:rPr lang="cs-CZ" sz="800" dirty="0" smtClean="0">
                <a:solidFill>
                  <a:srgbClr val="000000"/>
                </a:solidFill>
                <a:latin typeface="+mn-lt"/>
              </a:rPr>
              <a:t>)</a:t>
            </a:r>
            <a:endParaRPr lang="en-US" sz="8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Rectangle 58">
            <a:extLst>
              <a:ext uri="{FF2B5EF4-FFF2-40B4-BE49-F238E27FC236}">
                <a16:creationId xmlns:a16="http://schemas.microsoft.com/office/drawing/2014/main" id="{478DC7FF-3D62-499B-9B03-8E4C2F456C54}"/>
              </a:ext>
            </a:extLst>
          </p:cNvPr>
          <p:cNvSpPr/>
          <p:nvPr/>
        </p:nvSpPr>
        <p:spPr>
          <a:xfrm>
            <a:off x="4393003" y="4288186"/>
            <a:ext cx="9605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7</a:t>
            </a:r>
            <a:r>
              <a:rPr lang="cs-CZ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,</a:t>
            </a:r>
            <a:r>
              <a:rPr lang="en-US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2 m</a:t>
            </a:r>
            <a:r>
              <a:rPr lang="cs-CZ" sz="1200" b="1" dirty="0" err="1" smtClean="0">
                <a:solidFill>
                  <a:srgbClr val="85C2FF"/>
                </a:solidFill>
                <a:cs typeface="Arial" panose="020B0604020202020204" pitchFamily="34" charset="0"/>
              </a:rPr>
              <a:t>ěsíce</a:t>
            </a:r>
            <a:r>
              <a:rPr lang="en-US" sz="1200" b="1" dirty="0">
                <a:solidFill>
                  <a:srgbClr val="85C2FF"/>
                </a:solidFill>
                <a:cs typeface="Arial" panose="020B0604020202020204" pitchFamily="34" charset="0"/>
              </a:rPr>
              <a:t/>
            </a:r>
            <a:br>
              <a:rPr lang="en-US" sz="1200" b="1" dirty="0">
                <a:solidFill>
                  <a:srgbClr val="85C2FF"/>
                </a:solidFill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85C2FF"/>
                </a:solidFill>
                <a:cs typeface="Arial" panose="020B0604020202020204" pitchFamily="34" charset="0"/>
              </a:rPr>
              <a:t>(5.6, 7.5)</a:t>
            </a:r>
          </a:p>
        </p:txBody>
      </p:sp>
      <p:sp>
        <p:nvSpPr>
          <p:cNvPr id="27" name="Rectangle 59">
            <a:extLst>
              <a:ext uri="{FF2B5EF4-FFF2-40B4-BE49-F238E27FC236}">
                <a16:creationId xmlns:a16="http://schemas.microsoft.com/office/drawing/2014/main" id="{E9B683D7-3C6C-4B2F-B845-C82B089F4BB9}"/>
              </a:ext>
            </a:extLst>
          </p:cNvPr>
          <p:cNvSpPr/>
          <p:nvPr/>
        </p:nvSpPr>
        <p:spPr>
          <a:xfrm>
            <a:off x="3058814" y="4288186"/>
            <a:ext cx="10038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 smtClean="0">
                <a:solidFill>
                  <a:srgbClr val="EA3A3A"/>
                </a:solidFill>
                <a:cs typeface="Arial" panose="020B0604020202020204" pitchFamily="34" charset="0"/>
              </a:rPr>
              <a:t>5</a:t>
            </a:r>
            <a:r>
              <a:rPr lang="cs-CZ" sz="1200" b="1" dirty="0" smtClean="0">
                <a:solidFill>
                  <a:srgbClr val="EA3A3A"/>
                </a:solidFill>
                <a:cs typeface="Arial" panose="020B0604020202020204" pitchFamily="34" charset="0"/>
              </a:rPr>
              <a:t>,</a:t>
            </a:r>
            <a:r>
              <a:rPr lang="en-US" sz="1200" b="1" dirty="0" smtClean="0">
                <a:solidFill>
                  <a:srgbClr val="EA3A3A"/>
                </a:solidFill>
                <a:cs typeface="Arial" panose="020B0604020202020204" pitchFamily="34" charset="0"/>
              </a:rPr>
              <a:t>5 m</a:t>
            </a:r>
            <a:r>
              <a:rPr lang="cs-CZ" sz="1200" b="1" dirty="0" err="1" smtClean="0">
                <a:solidFill>
                  <a:srgbClr val="EA3A3A"/>
                </a:solidFill>
                <a:cs typeface="Arial" panose="020B0604020202020204" pitchFamily="34" charset="0"/>
              </a:rPr>
              <a:t>ěsíce</a:t>
            </a:r>
            <a:r>
              <a:rPr lang="en-US" sz="1200" b="1" dirty="0" smtClean="0">
                <a:solidFill>
                  <a:srgbClr val="EA3A3A"/>
                </a:solidFill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rgbClr val="EA3A3A"/>
                </a:solidFill>
                <a:cs typeface="Arial" panose="020B0604020202020204" pitchFamily="34" charset="0"/>
              </a:rPr>
              <a:t/>
            </a:r>
            <a:br>
              <a:rPr lang="en-US" sz="1200" b="1" dirty="0">
                <a:solidFill>
                  <a:srgbClr val="EA3A3A"/>
                </a:solidFill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EA3A3A"/>
                </a:solidFill>
                <a:cs typeface="Arial" panose="020B0604020202020204" pitchFamily="34" charset="0"/>
              </a:rPr>
              <a:t>(5.3, 5.6)</a:t>
            </a:r>
          </a:p>
        </p:txBody>
      </p:sp>
      <p:grpSp>
        <p:nvGrpSpPr>
          <p:cNvPr id="28" name="Group 60">
            <a:extLst>
              <a:ext uri="{FF2B5EF4-FFF2-40B4-BE49-F238E27FC236}">
                <a16:creationId xmlns:a16="http://schemas.microsoft.com/office/drawing/2014/main" id="{9C72BC66-7A07-4A95-911D-C7CBFE8D88A4}"/>
              </a:ext>
            </a:extLst>
          </p:cNvPr>
          <p:cNvGrpSpPr/>
          <p:nvPr/>
        </p:nvGrpSpPr>
        <p:grpSpPr>
          <a:xfrm>
            <a:off x="2088622" y="1724296"/>
            <a:ext cx="2297925" cy="3216265"/>
            <a:chOff x="240570" y="1050583"/>
            <a:chExt cx="2085367" cy="2918759"/>
          </a:xfrm>
        </p:grpSpPr>
        <p:cxnSp>
          <p:nvCxnSpPr>
            <p:cNvPr id="29" name="Straight Connector 62">
              <a:extLst>
                <a:ext uri="{FF2B5EF4-FFF2-40B4-BE49-F238E27FC236}">
                  <a16:creationId xmlns:a16="http://schemas.microsoft.com/office/drawing/2014/main" id="{F0E74EA5-270E-4008-BD2F-98DD6780823F}"/>
                </a:ext>
              </a:extLst>
            </p:cNvPr>
            <p:cNvCxnSpPr/>
            <p:nvPr/>
          </p:nvCxnSpPr>
          <p:spPr>
            <a:xfrm>
              <a:off x="2325937" y="2484964"/>
              <a:ext cx="0" cy="1418358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63">
              <a:extLst>
                <a:ext uri="{FF2B5EF4-FFF2-40B4-BE49-F238E27FC236}">
                  <a16:creationId xmlns:a16="http://schemas.microsoft.com/office/drawing/2014/main" id="{CE11BF9A-68A9-4F4A-AF08-256D10F6BFF5}"/>
                </a:ext>
              </a:extLst>
            </p:cNvPr>
            <p:cNvCxnSpPr/>
            <p:nvPr/>
          </p:nvCxnSpPr>
          <p:spPr>
            <a:xfrm>
              <a:off x="2039414" y="2484964"/>
              <a:ext cx="0" cy="1418358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64">
              <a:extLst>
                <a:ext uri="{FF2B5EF4-FFF2-40B4-BE49-F238E27FC236}">
                  <a16:creationId xmlns:a16="http://schemas.microsoft.com/office/drawing/2014/main" id="{700F11C8-2A82-4E92-A4BD-6B5446F0CB57}"/>
                </a:ext>
              </a:extLst>
            </p:cNvPr>
            <p:cNvCxnSpPr/>
            <p:nvPr/>
          </p:nvCxnSpPr>
          <p:spPr>
            <a:xfrm>
              <a:off x="1034742" y="2501383"/>
              <a:ext cx="128016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ectangle 65">
              <a:extLst>
                <a:ext uri="{FF2B5EF4-FFF2-40B4-BE49-F238E27FC236}">
                  <a16:creationId xmlns:a16="http://schemas.microsoft.com/office/drawing/2014/main" id="{A8DDE21E-75AE-4037-845E-D0C03BC48ED7}"/>
                </a:ext>
              </a:extLst>
            </p:cNvPr>
            <p:cNvSpPr/>
            <p:nvPr/>
          </p:nvSpPr>
          <p:spPr>
            <a:xfrm>
              <a:off x="243323" y="1050583"/>
              <a:ext cx="621792" cy="291875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10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8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6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4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2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33" name="Rectangle 66">
              <a:extLst>
                <a:ext uri="{FF2B5EF4-FFF2-40B4-BE49-F238E27FC236}">
                  <a16:creationId xmlns:a16="http://schemas.microsoft.com/office/drawing/2014/main" id="{41B5629A-6007-467F-A63B-0425B0247172}"/>
                </a:ext>
              </a:extLst>
            </p:cNvPr>
            <p:cNvSpPr/>
            <p:nvPr/>
          </p:nvSpPr>
          <p:spPr>
            <a:xfrm rot="16200000">
              <a:off x="28035" y="2363317"/>
              <a:ext cx="704378" cy="2793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400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P</a:t>
              </a:r>
              <a:r>
                <a:rPr lang="cs-CZ" sz="1400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FS</a:t>
              </a:r>
              <a:r>
                <a:rPr lang="en-US" sz="1400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 </a:t>
              </a:r>
              <a:r>
                <a:rPr lang="en-US" sz="1400" dirty="0">
                  <a:solidFill>
                    <a:prstClr val="black"/>
                  </a:solidFill>
                  <a:cs typeface="Arial" panose="020B0604020202020204" pitchFamily="34" charset="0"/>
                </a:rPr>
                <a:t>(%)</a:t>
              </a:r>
            </a:p>
          </p:txBody>
        </p:sp>
      </p:grpSp>
      <p:sp>
        <p:nvSpPr>
          <p:cNvPr id="34" name="Rectangle 61">
            <a:extLst>
              <a:ext uri="{FF2B5EF4-FFF2-40B4-BE49-F238E27FC236}">
                <a16:creationId xmlns:a16="http://schemas.microsoft.com/office/drawing/2014/main" id="{63CA4AB4-A1AD-4A80-BF5D-1B672923876B}"/>
              </a:ext>
            </a:extLst>
          </p:cNvPr>
          <p:cNvSpPr/>
          <p:nvPr/>
        </p:nvSpPr>
        <p:spPr>
          <a:xfrm>
            <a:off x="4826710" y="1762771"/>
            <a:ext cx="1824538" cy="707886"/>
          </a:xfrm>
          <a:prstGeom prst="rect">
            <a:avLst/>
          </a:prstGeom>
          <a:ln w="19050"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6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cs-CZ" sz="1200" dirty="0" smtClean="0">
                <a:solidFill>
                  <a:prstClr val="black"/>
                </a:solidFill>
                <a:cs typeface="Arial" panose="020B0604020202020204" pitchFamily="34" charset="0"/>
              </a:rPr>
              <a:t>Stratifikované</a:t>
            </a:r>
            <a:r>
              <a:rPr lang="cs-CZ" sz="12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sz="1200" dirty="0" smtClean="0">
                <a:solidFill>
                  <a:prstClr val="black"/>
                </a:solidFill>
                <a:cs typeface="Arial" panose="020B0604020202020204" pitchFamily="34" charset="0"/>
              </a:rPr>
              <a:t>HR=0.80</a:t>
            </a: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/>
            </a:r>
            <a:b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(95% CI: 0.69, 0.92)</a:t>
            </a:r>
            <a:b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en-US" sz="1200" baseline="300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p=0.0025</a:t>
            </a:r>
          </a:p>
        </p:txBody>
      </p:sp>
      <p:sp>
        <p:nvSpPr>
          <p:cNvPr id="35" name="TextovéPole 34"/>
          <p:cNvSpPr txBox="1"/>
          <p:nvPr/>
        </p:nvSpPr>
        <p:spPr>
          <a:xfrm>
            <a:off x="287489" y="1183401"/>
            <a:ext cx="1574562" cy="24622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cs-CZ" sz="1000" b="1" dirty="0" smtClean="0">
                <a:latin typeface="Arial" pitchFamily="34" charset="0"/>
                <a:cs typeface="Arial" pitchFamily="34" charset="0"/>
              </a:rPr>
              <a:t>První interim analýza</a:t>
            </a:r>
          </a:p>
        </p:txBody>
      </p:sp>
      <p:sp>
        <p:nvSpPr>
          <p:cNvPr id="37" name="Obdélník 36"/>
          <p:cNvSpPr/>
          <p:nvPr/>
        </p:nvSpPr>
        <p:spPr>
          <a:xfrm>
            <a:off x="2963743" y="1383456"/>
            <a:ext cx="27446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 smtClean="0">
                <a:solidFill>
                  <a:srgbClr val="000000"/>
                </a:solidFill>
              </a:rPr>
              <a:t>Medián sledování </a:t>
            </a:r>
            <a:r>
              <a:rPr lang="en-GB" sz="1200" dirty="0" smtClean="0">
                <a:solidFill>
                  <a:srgbClr val="000000"/>
                </a:solidFill>
              </a:rPr>
              <a:t>(</a:t>
            </a:r>
            <a:r>
              <a:rPr lang="en-GB" sz="1200" dirty="0">
                <a:solidFill>
                  <a:srgbClr val="000000"/>
                </a:solidFill>
              </a:rPr>
              <a:t>ITT): 12.9 </a:t>
            </a:r>
            <a:r>
              <a:rPr lang="cs-CZ" sz="1200" dirty="0" smtClean="0">
                <a:solidFill>
                  <a:srgbClr val="000000"/>
                </a:solidFill>
              </a:rPr>
              <a:t>měsíce</a:t>
            </a:r>
            <a:r>
              <a:rPr lang="cs-CZ" sz="1200" baseline="30000" dirty="0">
                <a:solidFill>
                  <a:srgbClr val="000000"/>
                </a:solidFill>
              </a:rPr>
              <a:t>1</a:t>
            </a:r>
            <a:endParaRPr lang="cs-CZ" sz="1200" dirty="0">
              <a:solidFill>
                <a:srgbClr val="000000"/>
              </a:solidFill>
            </a:endParaRPr>
          </a:p>
        </p:txBody>
      </p:sp>
      <p:pic>
        <p:nvPicPr>
          <p:cNvPr id="19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0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46242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</a:t>
            </a:r>
            <a:r>
              <a:rPr lang="cs-CZ" dirty="0" err="1" smtClean="0"/>
              <a:t>rodloužení</a:t>
            </a:r>
            <a:r>
              <a:rPr lang="cs-CZ" dirty="0" smtClean="0"/>
              <a:t> </a:t>
            </a:r>
            <a:r>
              <a:rPr lang="en-US" dirty="0" smtClean="0"/>
              <a:t>PFS</a:t>
            </a:r>
            <a:r>
              <a:rPr lang="cs-CZ" dirty="0"/>
              <a:t> </a:t>
            </a:r>
            <a:r>
              <a:rPr lang="cs-CZ" dirty="0" smtClean="0"/>
              <a:t>na 7,5 měsíce u </a:t>
            </a:r>
            <a:r>
              <a:rPr lang="en-US" dirty="0" smtClean="0"/>
              <a:t>PD-L1</a:t>
            </a:r>
            <a:r>
              <a:rPr lang="en-US" dirty="0"/>
              <a:t>+ </a:t>
            </a:r>
            <a:r>
              <a:rPr lang="en-US" dirty="0" err="1"/>
              <a:t>popula</a:t>
            </a:r>
            <a:r>
              <a:rPr lang="cs-CZ" dirty="0" smtClean="0"/>
              <a:t>ce</a:t>
            </a:r>
            <a:r>
              <a:rPr lang="cs-CZ" b="0" baseline="30000" dirty="0" smtClean="0"/>
              <a:t>1</a:t>
            </a:r>
            <a:endParaRPr lang="cs-CZ" dirty="0"/>
          </a:p>
        </p:txBody>
      </p:sp>
      <p:pic>
        <p:nvPicPr>
          <p:cNvPr id="6" name="Picture 23">
            <a:extLst>
              <a:ext uri="{FF2B5EF4-FFF2-40B4-BE49-F238E27FC236}">
                <a16:creationId xmlns:a16="http://schemas.microsoft.com/office/drawing/2014/main" id="{B93D46AB-A14B-4C39-AA00-32A67904615B}"/>
              </a:ext>
            </a:extLst>
          </p:cNvPr>
          <p:cNvPicPr>
            <a:picLocks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2160" y="1652549"/>
            <a:ext cx="6856640" cy="3304665"/>
          </a:xfrm>
          <a:prstGeom prst="rect">
            <a:avLst/>
          </a:prstGeom>
        </p:spPr>
      </p:pic>
      <p:sp>
        <p:nvSpPr>
          <p:cNvPr id="7" name="Rectangle 21">
            <a:extLst>
              <a:ext uri="{FF2B5EF4-FFF2-40B4-BE49-F238E27FC236}">
                <a16:creationId xmlns:a16="http://schemas.microsoft.com/office/drawing/2014/main" id="{EEB69A42-4100-4F05-965E-ABA374B7AC6D}"/>
              </a:ext>
            </a:extLst>
          </p:cNvPr>
          <p:cNvSpPr/>
          <p:nvPr/>
        </p:nvSpPr>
        <p:spPr>
          <a:xfrm>
            <a:off x="3168530" y="4290348"/>
            <a:ext cx="8851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 smtClean="0">
                <a:solidFill>
                  <a:srgbClr val="EA3A3A"/>
                </a:solidFill>
                <a:cs typeface="Arial" panose="020B0604020202020204" pitchFamily="34" charset="0"/>
              </a:rPr>
              <a:t>5 m</a:t>
            </a:r>
            <a:r>
              <a:rPr lang="cs-CZ" sz="1200" b="1" dirty="0" err="1" smtClean="0">
                <a:solidFill>
                  <a:srgbClr val="EA3A3A"/>
                </a:solidFill>
                <a:cs typeface="Arial" panose="020B0604020202020204" pitchFamily="34" charset="0"/>
              </a:rPr>
              <a:t>ěsíců</a:t>
            </a:r>
            <a:r>
              <a:rPr lang="en-US" sz="1200" b="1" dirty="0" smtClean="0">
                <a:solidFill>
                  <a:srgbClr val="EA3A3A"/>
                </a:solidFill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rgbClr val="EA3A3A"/>
                </a:solidFill>
                <a:cs typeface="Arial" panose="020B0604020202020204" pitchFamily="34" charset="0"/>
              </a:rPr>
              <a:t/>
            </a:r>
            <a:br>
              <a:rPr lang="en-US" sz="1200" b="1" dirty="0">
                <a:solidFill>
                  <a:srgbClr val="EA3A3A"/>
                </a:solidFill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EA3A3A"/>
                </a:solidFill>
                <a:cs typeface="Arial" panose="020B0604020202020204" pitchFamily="34" charset="0"/>
              </a:rPr>
              <a:t>(3.8, 5.6)</a:t>
            </a:r>
          </a:p>
        </p:txBody>
      </p:sp>
      <p:sp>
        <p:nvSpPr>
          <p:cNvPr id="8" name="Rectangle 24">
            <a:extLst>
              <a:ext uri="{FF2B5EF4-FFF2-40B4-BE49-F238E27FC236}">
                <a16:creationId xmlns:a16="http://schemas.microsoft.com/office/drawing/2014/main" id="{3C07FE04-18E0-4C9E-AF5C-94A185E07119}"/>
              </a:ext>
            </a:extLst>
          </p:cNvPr>
          <p:cNvSpPr/>
          <p:nvPr/>
        </p:nvSpPr>
        <p:spPr>
          <a:xfrm>
            <a:off x="5253871" y="1718831"/>
            <a:ext cx="1810111" cy="646331"/>
          </a:xfrm>
          <a:prstGeom prst="rect">
            <a:avLst/>
          </a:prstGeom>
          <a:ln w="19050">
            <a:noFill/>
          </a:ln>
        </p:spPr>
        <p:txBody>
          <a:bodyPr wrap="none">
            <a:spAutoFit/>
          </a:bodyPr>
          <a:lstStyle/>
          <a:p>
            <a:pPr algn="ctr">
              <a:spcBef>
                <a:spcPts val="0"/>
              </a:spcBef>
              <a:defRPr/>
            </a:pPr>
            <a:r>
              <a:rPr lang="en-US" sz="1200" dirty="0" smtClean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cs-CZ" sz="1200" dirty="0" smtClean="0">
                <a:solidFill>
                  <a:prstClr val="black"/>
                </a:solidFill>
                <a:cs typeface="Arial" panose="020B0604020202020204" pitchFamily="34" charset="0"/>
              </a:rPr>
              <a:t>Stratifikované </a:t>
            </a:r>
            <a:r>
              <a:rPr lang="en-US" sz="1200" dirty="0" smtClean="0">
                <a:solidFill>
                  <a:prstClr val="black"/>
                </a:solidFill>
                <a:cs typeface="Arial" panose="020B0604020202020204" pitchFamily="34" charset="0"/>
              </a:rPr>
              <a:t>HR=</a:t>
            </a:r>
            <a:r>
              <a:rPr lang="it-IT" sz="1200" dirty="0" smtClean="0">
                <a:solidFill>
                  <a:prstClr val="black"/>
                </a:solidFill>
                <a:cs typeface="Arial" panose="020B0604020202020204" pitchFamily="34" charset="0"/>
              </a:rPr>
              <a:t>0.62</a:t>
            </a:r>
            <a:r>
              <a:rPr lang="it-IT" sz="1200" dirty="0">
                <a:solidFill>
                  <a:prstClr val="black"/>
                </a:solidFill>
                <a:cs typeface="Arial" panose="020B0604020202020204" pitchFamily="34" charset="0"/>
              </a:rPr>
              <a:t/>
            </a:r>
            <a:br>
              <a:rPr lang="it-IT" sz="1200" dirty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it-IT" sz="1200" dirty="0">
                <a:solidFill>
                  <a:prstClr val="black"/>
                </a:solidFill>
                <a:cs typeface="Arial" panose="020B0604020202020204" pitchFamily="34" charset="0"/>
              </a:rPr>
              <a:t>(95% CI: 0.49, 0.78)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p&lt;0.0001</a:t>
            </a:r>
          </a:p>
        </p:txBody>
      </p:sp>
      <p:grpSp>
        <p:nvGrpSpPr>
          <p:cNvPr id="9" name="Group 30">
            <a:extLst>
              <a:ext uri="{FF2B5EF4-FFF2-40B4-BE49-F238E27FC236}">
                <a16:creationId xmlns:a16="http://schemas.microsoft.com/office/drawing/2014/main" id="{9C72BC66-7A07-4A95-911D-C7CBFE8D88A4}"/>
              </a:ext>
            </a:extLst>
          </p:cNvPr>
          <p:cNvGrpSpPr/>
          <p:nvPr/>
        </p:nvGrpSpPr>
        <p:grpSpPr>
          <a:xfrm>
            <a:off x="2088622" y="1724296"/>
            <a:ext cx="2369045" cy="3216265"/>
            <a:chOff x="259010" y="1050583"/>
            <a:chExt cx="2149909" cy="2918759"/>
          </a:xfrm>
        </p:grpSpPr>
        <p:cxnSp>
          <p:nvCxnSpPr>
            <p:cNvPr id="10" name="Straight Connector 36">
              <a:extLst>
                <a:ext uri="{FF2B5EF4-FFF2-40B4-BE49-F238E27FC236}">
                  <a16:creationId xmlns:a16="http://schemas.microsoft.com/office/drawing/2014/main" id="{F0E74EA5-270E-4008-BD2F-98DD6780823F}"/>
                </a:ext>
              </a:extLst>
            </p:cNvPr>
            <p:cNvCxnSpPr/>
            <p:nvPr/>
          </p:nvCxnSpPr>
          <p:spPr>
            <a:xfrm>
              <a:off x="2408919" y="2487605"/>
              <a:ext cx="0" cy="1418358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37">
              <a:extLst>
                <a:ext uri="{FF2B5EF4-FFF2-40B4-BE49-F238E27FC236}">
                  <a16:creationId xmlns:a16="http://schemas.microsoft.com/office/drawing/2014/main" id="{CE11BF9A-68A9-4F4A-AF08-256D10F6BFF5}"/>
                </a:ext>
              </a:extLst>
            </p:cNvPr>
            <p:cNvCxnSpPr/>
            <p:nvPr/>
          </p:nvCxnSpPr>
          <p:spPr>
            <a:xfrm>
              <a:off x="2016363" y="2484964"/>
              <a:ext cx="0" cy="1418358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42">
              <a:extLst>
                <a:ext uri="{FF2B5EF4-FFF2-40B4-BE49-F238E27FC236}">
                  <a16:creationId xmlns:a16="http://schemas.microsoft.com/office/drawing/2014/main" id="{700F11C8-2A82-4E92-A4BD-6B5446F0CB57}"/>
                </a:ext>
              </a:extLst>
            </p:cNvPr>
            <p:cNvCxnSpPr/>
            <p:nvPr/>
          </p:nvCxnSpPr>
          <p:spPr>
            <a:xfrm>
              <a:off x="1034742" y="2501383"/>
              <a:ext cx="137214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43">
              <a:extLst>
                <a:ext uri="{FF2B5EF4-FFF2-40B4-BE49-F238E27FC236}">
                  <a16:creationId xmlns:a16="http://schemas.microsoft.com/office/drawing/2014/main" id="{A8DDE21E-75AE-4037-845E-D0C03BC48ED7}"/>
                </a:ext>
              </a:extLst>
            </p:cNvPr>
            <p:cNvSpPr/>
            <p:nvPr/>
          </p:nvSpPr>
          <p:spPr>
            <a:xfrm>
              <a:off x="261763" y="1050583"/>
              <a:ext cx="621792" cy="291875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10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8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6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4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2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4" name="Rectangle 44">
              <a:extLst>
                <a:ext uri="{FF2B5EF4-FFF2-40B4-BE49-F238E27FC236}">
                  <a16:creationId xmlns:a16="http://schemas.microsoft.com/office/drawing/2014/main" id="{41B5629A-6007-467F-A63B-0425B0247172}"/>
                </a:ext>
              </a:extLst>
            </p:cNvPr>
            <p:cNvSpPr/>
            <p:nvPr/>
          </p:nvSpPr>
          <p:spPr>
            <a:xfrm rot="16200000">
              <a:off x="68296" y="2363317"/>
              <a:ext cx="660736" cy="2793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cs-CZ" sz="1400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PFS</a:t>
              </a:r>
              <a:r>
                <a:rPr lang="en-US" sz="1400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(%)</a:t>
              </a:r>
              <a:endParaRPr lang="en-US" sz="14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15" name="Table 45">
            <a:extLst>
              <a:ext uri="{FF2B5EF4-FFF2-40B4-BE49-F238E27FC236}">
                <a16:creationId xmlns:a16="http://schemas.microsoft.com/office/drawing/2014/main" id="{2CEC4690-749D-4228-B9A3-C9E0B68C55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721276"/>
              </p:ext>
            </p:extLst>
          </p:nvPr>
        </p:nvGraphicFramePr>
        <p:xfrm>
          <a:off x="1170377" y="5084352"/>
          <a:ext cx="8486984" cy="1306572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548932">
                  <a:extLst>
                    <a:ext uri="{9D8B030D-6E8A-4147-A177-3AD203B41FA5}">
                      <a16:colId xmlns:a16="http://schemas.microsoft.com/office/drawing/2014/main" val="678281751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2748423136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671682577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4035372247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350786550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3615889726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2529375203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2807049003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3669458763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2998332033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3714365567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487982840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2303594697"/>
                    </a:ext>
                  </a:extLst>
                </a:gridCol>
              </a:tblGrid>
              <a:tr h="436986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149616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Doba(měsíce)</a:t>
                      </a:r>
                      <a:endParaRPr lang="en-US" sz="14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9931495"/>
                  </a:ext>
                </a:extLst>
              </a:tr>
              <a:tr h="250064">
                <a:tc>
                  <a:txBody>
                    <a:bodyPr/>
                    <a:lstStyle/>
                    <a:p>
                      <a:pPr algn="l">
                        <a:lnSpc>
                          <a:spcPct val="50000"/>
                        </a:lnSpc>
                      </a:pPr>
                      <a:r>
                        <a:rPr lang="cs-CZ" sz="1200" b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Počet</a:t>
                      </a:r>
                      <a:r>
                        <a:rPr lang="cs-CZ" sz="1200" b="0" baseline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 pacientů v riziku</a:t>
                      </a: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:</a:t>
                      </a: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rgbClr val="000000"/>
                        </a:solidFill>
                        <a:latin typeface="Imago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3182417"/>
                  </a:ext>
                </a:extLst>
              </a:tr>
              <a:tr h="171997">
                <a:tc>
                  <a:txBody>
                    <a:bodyPr/>
                    <a:lstStyle/>
                    <a:p>
                      <a:pPr algn="l">
                        <a:lnSpc>
                          <a:spcPct val="70000"/>
                        </a:lnSpc>
                      </a:pPr>
                      <a:r>
                        <a:rPr lang="en-US" sz="1000" b="1" dirty="0" err="1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US" sz="1000" b="1" dirty="0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 </a:t>
                      </a:r>
                      <a:endParaRPr lang="cs-CZ" sz="1000" b="1" dirty="0" smtClean="0">
                        <a:solidFill>
                          <a:srgbClr val="85C2FF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ct val="70000"/>
                        </a:lnSpc>
                      </a:pPr>
                      <a:r>
                        <a:rPr lang="en-US" sz="1000" b="1" dirty="0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+ nab-</a:t>
                      </a:r>
                      <a:r>
                        <a:rPr lang="cs-CZ" sz="1000" b="1" dirty="0" err="1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paklitaxel</a:t>
                      </a:r>
                      <a:endParaRPr lang="en-US" sz="1000" b="1" dirty="0">
                        <a:solidFill>
                          <a:srgbClr val="85C2FF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4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2731865"/>
                  </a:ext>
                </a:extLst>
              </a:tr>
              <a:tr h="18264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Placebo </a:t>
                      </a:r>
                      <a:r>
                        <a:rPr lang="en-US" sz="1000" b="1" dirty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000" b="1" dirty="0" smtClean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000" b="1" dirty="0" err="1" smtClean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paklitaxel</a:t>
                      </a:r>
                      <a:endParaRPr lang="en-US" sz="1000" b="1" dirty="0">
                        <a:solidFill>
                          <a:srgbClr val="EA3A3A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8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6576813"/>
                  </a:ext>
                </a:extLst>
              </a:tr>
            </a:tbl>
          </a:graphicData>
        </a:graphic>
      </p:graphicFrame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EEB3F741-8A2B-4DF6-90B0-4FF25095F7D0}"/>
              </a:ext>
            </a:extLst>
          </p:cNvPr>
          <p:cNvSpPr txBox="1">
            <a:spLocks/>
          </p:cNvSpPr>
          <p:nvPr/>
        </p:nvSpPr>
        <p:spPr>
          <a:xfrm>
            <a:off x="0" y="6414938"/>
            <a:ext cx="11619570" cy="45209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Imago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rgbClr val="000000"/>
                </a:solidFill>
                <a:latin typeface="+mj-lt"/>
              </a:rPr>
              <a:t>Data cut-off: 17 April 2018</a:t>
            </a:r>
            <a:r>
              <a:rPr lang="en-GB" sz="800" dirty="0">
                <a:solidFill>
                  <a:schemeClr val="tx1"/>
                </a:solidFill>
                <a:latin typeface="+mj-lt"/>
              </a:rPr>
              <a:t/>
            </a:r>
            <a:br>
              <a:rPr lang="en-GB" sz="800" dirty="0">
                <a:solidFill>
                  <a:schemeClr val="tx1"/>
                </a:solidFill>
                <a:latin typeface="+mj-lt"/>
              </a:rPr>
            </a:br>
            <a:r>
              <a:rPr lang="cs-CZ" sz="800" dirty="0">
                <a:solidFill>
                  <a:srgbClr val="000000"/>
                </a:solidFill>
                <a:latin typeface="+mj-lt"/>
              </a:rPr>
              <a:t>1. </a:t>
            </a:r>
            <a:r>
              <a:rPr lang="cs-CZ" sz="800" dirty="0" smtClean="0">
                <a:solidFill>
                  <a:srgbClr val="000000"/>
                </a:solidFill>
                <a:latin typeface="+mj-lt"/>
              </a:rPr>
              <a:t>P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. Schmid,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S.Adams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,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H.S.Rugo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, A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Schneeweiss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et al;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Atezolizumab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and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Nab-Paclitaxel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in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Advanced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Triple- </a:t>
            </a:r>
            <a:r>
              <a:rPr lang="en-US" sz="800" dirty="0">
                <a:solidFill>
                  <a:srgbClr val="000000"/>
                </a:solidFill>
                <a:latin typeface="+mj-lt"/>
              </a:rPr>
              <a:t>Negative Breast Cancer; N </a:t>
            </a:r>
            <a:r>
              <a:rPr lang="en-US" sz="800" dirty="0" err="1">
                <a:solidFill>
                  <a:srgbClr val="000000"/>
                </a:solidFill>
                <a:latin typeface="+mj-lt"/>
              </a:rPr>
              <a:t>Engl</a:t>
            </a:r>
            <a:r>
              <a:rPr lang="en-US" sz="800" dirty="0">
                <a:solidFill>
                  <a:srgbClr val="000000"/>
                </a:solidFill>
                <a:latin typeface="+mj-lt"/>
              </a:rPr>
              <a:t> J Med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2018,379:2108-21.(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Supplemantary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appendix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)</a:t>
            </a:r>
            <a:endParaRPr lang="en-US" sz="800" dirty="0">
              <a:solidFill>
                <a:srgbClr val="000000"/>
              </a:solidFill>
              <a:latin typeface="+mj-lt"/>
            </a:endParaRPr>
          </a:p>
        </p:txBody>
      </p:sp>
      <p:graphicFrame>
        <p:nvGraphicFramePr>
          <p:cNvPr id="17" name="Table 27">
            <a:extLst>
              <a:ext uri="{FF2B5EF4-FFF2-40B4-BE49-F238E27FC236}">
                <a16:creationId xmlns:a16="http://schemas.microsoft.com/office/drawing/2014/main" id="{1321E8B7-3E64-4FAD-9607-C2F34C84EB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1943366"/>
              </p:ext>
            </p:extLst>
          </p:nvPr>
        </p:nvGraphicFramePr>
        <p:xfrm>
          <a:off x="8013981" y="1209884"/>
          <a:ext cx="3758918" cy="1205276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208143">
                  <a:extLst>
                    <a:ext uri="{9D8B030D-6E8A-4147-A177-3AD203B41FA5}">
                      <a16:colId xmlns:a16="http://schemas.microsoft.com/office/drawing/2014/main" val="2380695724"/>
                    </a:ext>
                  </a:extLst>
                </a:gridCol>
                <a:gridCol w="1310156">
                  <a:extLst>
                    <a:ext uri="{9D8B030D-6E8A-4147-A177-3AD203B41FA5}">
                      <a16:colId xmlns:a16="http://schemas.microsoft.com/office/drawing/2014/main" val="3018412589"/>
                    </a:ext>
                  </a:extLst>
                </a:gridCol>
                <a:gridCol w="1240619">
                  <a:extLst>
                    <a:ext uri="{9D8B030D-6E8A-4147-A177-3AD203B41FA5}">
                      <a16:colId xmlns:a16="http://schemas.microsoft.com/office/drawing/2014/main" val="3973698329"/>
                    </a:ext>
                  </a:extLst>
                </a:gridCol>
              </a:tblGrid>
              <a:tr h="40429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US" sz="1200" baseline="-250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endParaRPr lang="cs-CZ" sz="1200" dirty="0" smtClean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aseline="-250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dirty="0" err="1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N=185)</a:t>
                      </a:r>
                      <a:endParaRPr lang="en-US" sz="1200" b="0" dirty="0"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C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Placebo</a:t>
                      </a:r>
                      <a:r>
                        <a:rPr lang="en-US" sz="1200" baseline="-250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200" baseline="-250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aseline="-250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baseline="-250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dirty="0" err="1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N=184)</a:t>
                      </a:r>
                      <a:endParaRPr lang="en-US" sz="1200" b="0" dirty="0"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3A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56661"/>
                  </a:ext>
                </a:extLst>
              </a:tr>
              <a:tr h="241200">
                <a:tc>
                  <a:txBody>
                    <a:bodyPr/>
                    <a:lstStyle/>
                    <a:p>
                      <a:pPr marL="117475" marR="0" lvl="0" indent="-1174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FS </a:t>
                      </a:r>
                      <a:r>
                        <a:rPr lang="cs-CZ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říhody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</a:t>
                      </a:r>
                      <a:endParaRPr lang="en-US" sz="12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138</a:t>
                      </a:r>
                    </a:p>
                  </a:txBody>
                  <a:tcPr marL="19706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157</a:t>
                      </a:r>
                    </a:p>
                  </a:txBody>
                  <a:tcPr marL="19706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854526"/>
                  </a:ext>
                </a:extLst>
              </a:tr>
              <a:tr h="415436">
                <a:tc>
                  <a:txBody>
                    <a:bodyPr/>
                    <a:lstStyle/>
                    <a:p>
                      <a:pPr marL="117475" marR="0" lvl="0" indent="-1174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-</a:t>
                      </a:r>
                      <a:r>
                        <a:rPr lang="cs-CZ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ok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FS</a:t>
                      </a:r>
                      <a:b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95% CI), %</a:t>
                      </a:r>
                      <a:endParaRPr lang="en-US" sz="12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29</a:t>
                      </a:r>
                      <a:b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(22, 36)</a:t>
                      </a:r>
                    </a:p>
                  </a:txBody>
                  <a:tcPr marL="19706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16</a:t>
                      </a:r>
                      <a:b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(11, 22)</a:t>
                      </a:r>
                    </a:p>
                  </a:txBody>
                  <a:tcPr marL="19706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022953"/>
                  </a:ext>
                </a:extLst>
              </a:tr>
            </a:tbl>
          </a:graphicData>
        </a:graphic>
      </p:graphicFrame>
      <p:sp>
        <p:nvSpPr>
          <p:cNvPr id="18" name="Rectangle 28">
            <a:extLst>
              <a:ext uri="{FF2B5EF4-FFF2-40B4-BE49-F238E27FC236}">
                <a16:creationId xmlns:a16="http://schemas.microsoft.com/office/drawing/2014/main" id="{478DC7FF-3D62-499B-9B03-8E4C2F456C54}"/>
              </a:ext>
            </a:extLst>
          </p:cNvPr>
          <p:cNvSpPr/>
          <p:nvPr/>
        </p:nvSpPr>
        <p:spPr>
          <a:xfrm>
            <a:off x="4563858" y="4336998"/>
            <a:ext cx="10038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7</a:t>
            </a:r>
            <a:r>
              <a:rPr lang="cs-CZ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,</a:t>
            </a:r>
            <a:r>
              <a:rPr lang="en-US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5 m</a:t>
            </a:r>
            <a:r>
              <a:rPr lang="cs-CZ" sz="1200" b="1" dirty="0" err="1" smtClean="0">
                <a:solidFill>
                  <a:srgbClr val="85C2FF"/>
                </a:solidFill>
                <a:cs typeface="Arial" panose="020B0604020202020204" pitchFamily="34" charset="0"/>
              </a:rPr>
              <a:t>ěsíce</a:t>
            </a:r>
            <a:r>
              <a:rPr lang="en-US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rgbClr val="85C2FF"/>
                </a:solidFill>
                <a:cs typeface="Arial" panose="020B0604020202020204" pitchFamily="34" charset="0"/>
              </a:rPr>
              <a:t/>
            </a:r>
            <a:br>
              <a:rPr lang="en-US" sz="1200" b="1" dirty="0">
                <a:solidFill>
                  <a:srgbClr val="85C2FF"/>
                </a:solidFill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85C2FF"/>
                </a:solidFill>
                <a:cs typeface="Arial" panose="020B0604020202020204" pitchFamily="34" charset="0"/>
              </a:rPr>
              <a:t>(6.7, 9.2)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287489" y="1183401"/>
            <a:ext cx="1582875" cy="24622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cs-CZ" sz="1000" b="1" dirty="0" smtClean="0">
                <a:latin typeface="Arial" pitchFamily="34" charset="0"/>
                <a:cs typeface="Arial" pitchFamily="34" charset="0"/>
              </a:rPr>
              <a:t>První interim analýza</a:t>
            </a:r>
          </a:p>
        </p:txBody>
      </p:sp>
      <p:sp>
        <p:nvSpPr>
          <p:cNvPr id="22" name="Obdélník 21"/>
          <p:cNvSpPr/>
          <p:nvPr/>
        </p:nvSpPr>
        <p:spPr>
          <a:xfrm>
            <a:off x="3290314" y="1183401"/>
            <a:ext cx="294664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 smtClean="0">
                <a:solidFill>
                  <a:srgbClr val="000000"/>
                </a:solidFill>
              </a:rPr>
              <a:t>Medián sledování </a:t>
            </a:r>
            <a:r>
              <a:rPr lang="en-GB" sz="1200" dirty="0" smtClean="0">
                <a:solidFill>
                  <a:srgbClr val="000000"/>
                </a:solidFill>
              </a:rPr>
              <a:t>(</a:t>
            </a:r>
            <a:r>
              <a:rPr lang="cs-CZ" sz="1200" dirty="0" smtClean="0">
                <a:solidFill>
                  <a:srgbClr val="000000"/>
                </a:solidFill>
              </a:rPr>
              <a:t>PD-L1</a:t>
            </a:r>
            <a:r>
              <a:rPr lang="en-GB" sz="1200" dirty="0" smtClean="0">
                <a:solidFill>
                  <a:srgbClr val="000000"/>
                </a:solidFill>
              </a:rPr>
              <a:t>): </a:t>
            </a:r>
            <a:r>
              <a:rPr lang="en-GB" sz="1200" dirty="0">
                <a:solidFill>
                  <a:srgbClr val="000000"/>
                </a:solidFill>
              </a:rPr>
              <a:t>12.9 </a:t>
            </a:r>
            <a:r>
              <a:rPr lang="cs-CZ" sz="1200" dirty="0" smtClean="0">
                <a:solidFill>
                  <a:srgbClr val="000000"/>
                </a:solidFill>
              </a:rPr>
              <a:t>měsíce</a:t>
            </a:r>
            <a:r>
              <a:rPr lang="cs-CZ" sz="1200" baseline="30000" dirty="0">
                <a:solidFill>
                  <a:srgbClr val="000000"/>
                </a:solidFill>
              </a:rPr>
              <a:t>1</a:t>
            </a:r>
            <a:endParaRPr lang="cs-CZ" sz="1200" dirty="0">
              <a:solidFill>
                <a:srgbClr val="000000"/>
              </a:solidFill>
            </a:endParaRPr>
          </a:p>
        </p:txBody>
      </p:sp>
      <p:pic>
        <p:nvPicPr>
          <p:cNvPr id="20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3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17165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>
          <a:xfrm>
            <a:off x="190549" y="224715"/>
            <a:ext cx="11786007" cy="691765"/>
          </a:xfrm>
        </p:spPr>
        <p:txBody>
          <a:bodyPr/>
          <a:lstStyle/>
          <a:p>
            <a:r>
              <a:rPr lang="cs-CZ" sz="2400" dirty="0" smtClean="0"/>
              <a:t>Četnost odpovědí ve studii IMpassion130 (data </a:t>
            </a:r>
            <a:r>
              <a:rPr lang="cs-CZ" sz="2400" dirty="0"/>
              <a:t>z primární </a:t>
            </a:r>
            <a:r>
              <a:rPr lang="cs-CZ" sz="2400" dirty="0" smtClean="0"/>
              <a:t>analýzy)</a:t>
            </a:r>
            <a:r>
              <a:rPr lang="cs-CZ" sz="2400" b="0" baseline="30000" dirty="0" smtClean="0"/>
              <a:t>1,2</a:t>
            </a:r>
            <a:r>
              <a:rPr lang="en-US" sz="2400" baseline="30000" dirty="0" smtClean="0"/>
              <a:t> </a:t>
            </a:r>
            <a:endParaRPr lang="cs-CZ" sz="2400" baseline="30000" dirty="0"/>
          </a:p>
        </p:txBody>
      </p:sp>
      <p:graphicFrame>
        <p:nvGraphicFramePr>
          <p:cNvPr id="6" name="Chart 51">
            <a:extLst>
              <a:ext uri="{FF2B5EF4-FFF2-40B4-BE49-F238E27FC236}">
                <a16:creationId xmlns:a16="http://schemas.microsoft.com/office/drawing/2014/main" id="{55246F02-A564-4DF6-B568-9CBDF41441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9860948"/>
              </p:ext>
            </p:extLst>
          </p:nvPr>
        </p:nvGraphicFramePr>
        <p:xfrm>
          <a:off x="3011043" y="1335565"/>
          <a:ext cx="5393289" cy="3537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 70">
            <a:extLst>
              <a:ext uri="{FF2B5EF4-FFF2-40B4-BE49-F238E27FC236}">
                <a16:creationId xmlns:a16="http://schemas.microsoft.com/office/drawing/2014/main" id="{DF455BBE-3A19-42C1-8E7F-9FA2F2DF57F0}"/>
              </a:ext>
            </a:extLst>
          </p:cNvPr>
          <p:cNvSpPr/>
          <p:nvPr/>
        </p:nvSpPr>
        <p:spPr>
          <a:xfrm>
            <a:off x="2415513" y="3440515"/>
            <a:ext cx="195454" cy="182112"/>
          </a:xfrm>
          <a:prstGeom prst="rect">
            <a:avLst/>
          </a:prstGeom>
          <a:solidFill>
            <a:srgbClr val="AC0420"/>
          </a:solidFill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Rectangle 71">
            <a:extLst>
              <a:ext uri="{FF2B5EF4-FFF2-40B4-BE49-F238E27FC236}">
                <a16:creationId xmlns:a16="http://schemas.microsoft.com/office/drawing/2014/main" id="{D1DED8F1-27D2-4707-8838-ECB67020CC1B}"/>
              </a:ext>
            </a:extLst>
          </p:cNvPr>
          <p:cNvSpPr/>
          <p:nvPr/>
        </p:nvSpPr>
        <p:spPr>
          <a:xfrm>
            <a:off x="2424574" y="3163516"/>
            <a:ext cx="195454" cy="182112"/>
          </a:xfrm>
          <a:prstGeom prst="rect">
            <a:avLst/>
          </a:prstGeom>
          <a:solidFill>
            <a:srgbClr val="EA3A3A"/>
          </a:solidFill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Rectangle 72">
            <a:extLst>
              <a:ext uri="{FF2B5EF4-FFF2-40B4-BE49-F238E27FC236}">
                <a16:creationId xmlns:a16="http://schemas.microsoft.com/office/drawing/2014/main" id="{5185690E-240F-4938-B3FB-B414713B7621}"/>
              </a:ext>
            </a:extLst>
          </p:cNvPr>
          <p:cNvSpPr/>
          <p:nvPr/>
        </p:nvSpPr>
        <p:spPr>
          <a:xfrm>
            <a:off x="2130766" y="3440515"/>
            <a:ext cx="195454" cy="18211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Rectangle 73">
            <a:extLst>
              <a:ext uri="{FF2B5EF4-FFF2-40B4-BE49-F238E27FC236}">
                <a16:creationId xmlns:a16="http://schemas.microsoft.com/office/drawing/2014/main" id="{A79D78E6-B750-41B7-B7F9-35954D9E8DC1}"/>
              </a:ext>
            </a:extLst>
          </p:cNvPr>
          <p:cNvSpPr/>
          <p:nvPr/>
        </p:nvSpPr>
        <p:spPr>
          <a:xfrm>
            <a:off x="2130766" y="3163516"/>
            <a:ext cx="195454" cy="182112"/>
          </a:xfrm>
          <a:prstGeom prst="rect">
            <a:avLst/>
          </a:prstGeom>
          <a:solidFill>
            <a:srgbClr val="85C2FF">
              <a:alpha val="50000"/>
            </a:srgbClr>
          </a:solidFill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Box 74">
            <a:extLst>
              <a:ext uri="{FF2B5EF4-FFF2-40B4-BE49-F238E27FC236}">
                <a16:creationId xmlns:a16="http://schemas.microsoft.com/office/drawing/2014/main" id="{99164B21-5203-4470-A01A-C052CC44C1DB}"/>
              </a:ext>
            </a:extLst>
          </p:cNvPr>
          <p:cNvSpPr txBox="1"/>
          <p:nvPr/>
        </p:nvSpPr>
        <p:spPr>
          <a:xfrm>
            <a:off x="1645575" y="3345628"/>
            <a:ext cx="4780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CR: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2" name="TextBox 75">
            <a:extLst>
              <a:ext uri="{FF2B5EF4-FFF2-40B4-BE49-F238E27FC236}">
                <a16:creationId xmlns:a16="http://schemas.microsoft.com/office/drawing/2014/main" id="{59F5F58B-5E1B-4293-90A6-4DA5835A2D24}"/>
              </a:ext>
            </a:extLst>
          </p:cNvPr>
          <p:cNvSpPr txBox="1"/>
          <p:nvPr/>
        </p:nvSpPr>
        <p:spPr>
          <a:xfrm>
            <a:off x="1645575" y="3116073"/>
            <a:ext cx="4615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PR: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3" name="Table 76">
            <a:extLst>
              <a:ext uri="{FF2B5EF4-FFF2-40B4-BE49-F238E27FC236}">
                <a16:creationId xmlns:a16="http://schemas.microsoft.com/office/drawing/2014/main" id="{F2C03A44-BC06-4255-83ED-454F7F95E6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7659789"/>
              </p:ext>
            </p:extLst>
          </p:nvPr>
        </p:nvGraphicFramePr>
        <p:xfrm>
          <a:off x="1813461" y="4123199"/>
          <a:ext cx="6590871" cy="19011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27514">
                  <a:extLst>
                    <a:ext uri="{9D8B030D-6E8A-4147-A177-3AD203B41FA5}">
                      <a16:colId xmlns:a16="http://schemas.microsoft.com/office/drawing/2014/main" val="877478349"/>
                    </a:ext>
                  </a:extLst>
                </a:gridCol>
                <a:gridCol w="1014152">
                  <a:extLst>
                    <a:ext uri="{9D8B030D-6E8A-4147-A177-3AD203B41FA5}">
                      <a16:colId xmlns:a16="http://schemas.microsoft.com/office/drawing/2014/main" val="655066923"/>
                    </a:ext>
                  </a:extLst>
                </a:gridCol>
                <a:gridCol w="848504">
                  <a:extLst>
                    <a:ext uri="{9D8B030D-6E8A-4147-A177-3AD203B41FA5}">
                      <a16:colId xmlns:a16="http://schemas.microsoft.com/office/drawing/2014/main" val="367330479"/>
                    </a:ext>
                  </a:extLst>
                </a:gridCol>
                <a:gridCol w="872231">
                  <a:extLst>
                    <a:ext uri="{9D8B030D-6E8A-4147-A177-3AD203B41FA5}">
                      <a16:colId xmlns:a16="http://schemas.microsoft.com/office/drawing/2014/main" val="1500778241"/>
                    </a:ext>
                  </a:extLst>
                </a:gridCol>
                <a:gridCol w="1022465">
                  <a:extLst>
                    <a:ext uri="{9D8B030D-6E8A-4147-A177-3AD203B41FA5}">
                      <a16:colId xmlns:a16="http://schemas.microsoft.com/office/drawing/2014/main" val="4248721778"/>
                    </a:ext>
                  </a:extLst>
                </a:gridCol>
                <a:gridCol w="1006005">
                  <a:extLst>
                    <a:ext uri="{9D8B030D-6E8A-4147-A177-3AD203B41FA5}">
                      <a16:colId xmlns:a16="http://schemas.microsoft.com/office/drawing/2014/main" val="4122309955"/>
                    </a:ext>
                  </a:extLst>
                </a:gridCol>
              </a:tblGrid>
              <a:tr h="756321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2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cs-CZ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       +</a:t>
                      </a:r>
                      <a:r>
                        <a:rPr lang="en-US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200" b="1" dirty="0" err="1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paklitaxel</a:t>
                      </a:r>
                      <a:endParaRPr lang="en-GB" sz="1200" b="1" dirty="0">
                        <a:solidFill>
                          <a:srgbClr val="85C2FF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Placebo</a:t>
                      </a:r>
                      <a:br>
                        <a:rPr lang="en-US" sz="1200" b="1" dirty="0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+</a:t>
                      </a:r>
                      <a:br>
                        <a:rPr lang="en-US" sz="1200" b="1" dirty="0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 nab-</a:t>
                      </a:r>
                      <a:r>
                        <a:rPr lang="cs-CZ" sz="1200" b="1" dirty="0" err="1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paklitaxel</a:t>
                      </a:r>
                      <a:endParaRPr lang="en-GB" sz="1200" b="1" dirty="0">
                        <a:solidFill>
                          <a:srgbClr val="EA3A3A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200" b="1" dirty="0">
                        <a:solidFill>
                          <a:schemeClr val="tx2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US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 </a:t>
                      </a:r>
                      <a:endParaRPr lang="cs-CZ" sz="1200" b="1" dirty="0" smtClean="0">
                        <a:solidFill>
                          <a:srgbClr val="85C2FF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200" b="1" dirty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b="1" dirty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b="1" dirty="0" err="1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paklitaxel</a:t>
                      </a:r>
                      <a:endParaRPr lang="en-GB" sz="1200" b="1" dirty="0">
                        <a:solidFill>
                          <a:srgbClr val="85C2FF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Placebo</a:t>
                      </a:r>
                      <a:br>
                        <a:rPr lang="en-US" sz="1200" b="1" dirty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+</a:t>
                      </a:r>
                      <a:br>
                        <a:rPr lang="en-US" sz="1200" b="1" dirty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b="1" dirty="0" err="1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paklitaxel</a:t>
                      </a:r>
                      <a:endParaRPr lang="en-GB" sz="1200" b="1" dirty="0">
                        <a:solidFill>
                          <a:srgbClr val="EA3A3A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581538"/>
                  </a:ext>
                </a:extLst>
              </a:tr>
              <a:tr h="38162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baseline="30000" dirty="0">
                        <a:solidFill>
                          <a:schemeClr val="tx1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2363767"/>
                  </a:ext>
                </a:extLst>
              </a:tr>
              <a:tr h="38162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Počet </a:t>
                      </a:r>
                      <a:r>
                        <a:rPr lang="cs-CZ" sz="1200" baseline="0" dirty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 odpovědí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n (%)</a:t>
                      </a:r>
                      <a:r>
                        <a:rPr lang="en-US" sz="1200" baseline="3000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c</a:t>
                      </a:r>
                      <a:endParaRPr lang="en-US" sz="1200" b="1" baseline="3000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78 (31)</a:t>
                      </a:r>
                      <a:endParaRPr lang="en-US" sz="1200" b="0" baseline="3000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52 (25)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rgbClr val="000000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39 (36)</a:t>
                      </a:r>
                      <a:endParaRPr lang="en-US" sz="1200" b="0" baseline="3000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19 (24)1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9608920"/>
                  </a:ext>
                </a:extLst>
              </a:tr>
              <a:tr h="38162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D</a:t>
                      </a:r>
                      <a:r>
                        <a:rPr lang="cs-CZ" sz="1200" kern="1200" baseline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200" kern="1200" baseline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medi</a:t>
                      </a:r>
                      <a:r>
                        <a:rPr lang="cs-CZ" sz="12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án</a:t>
                      </a:r>
                      <a:endParaRPr lang="en-US" sz="1200" kern="1200" baseline="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(95% CI), </a:t>
                      </a:r>
                      <a:r>
                        <a:rPr lang="en-US" sz="1200" kern="1200" baseline="0" dirty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m</a:t>
                      </a:r>
                      <a:r>
                        <a:rPr lang="cs-CZ" sz="12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ěsíce</a:t>
                      </a:r>
                      <a:endParaRPr lang="en-US" sz="1200" kern="1200" baseline="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7.4</a:t>
                      </a:r>
                      <a:b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(6.9, 9.0)</a:t>
                      </a:r>
                      <a:endParaRPr lang="en-GB" sz="1200" kern="1200" baseline="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5.6</a:t>
                      </a:r>
                      <a:b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(5.5, 6.9)</a:t>
                      </a:r>
                      <a:endParaRPr lang="en-GB" sz="1200" kern="1200" baseline="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kern="1200" baseline="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8.5</a:t>
                      </a:r>
                      <a:b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(7.3, 9.7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5.5</a:t>
                      </a:r>
                      <a:b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(3.7, 7.1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873465"/>
                  </a:ext>
                </a:extLst>
              </a:tr>
            </a:tbl>
          </a:graphicData>
        </a:graphic>
      </p:graphicFrame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EEB3F741-8A2B-4DF6-90B0-4FF25095F7D0}"/>
              </a:ext>
            </a:extLst>
          </p:cNvPr>
          <p:cNvSpPr txBox="1">
            <a:spLocks/>
          </p:cNvSpPr>
          <p:nvPr/>
        </p:nvSpPr>
        <p:spPr>
          <a:xfrm>
            <a:off x="-28524" y="6022413"/>
            <a:ext cx="11472421" cy="108332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Imago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dirty="0">
                <a:solidFill>
                  <a:srgbClr val="000000"/>
                </a:solidFill>
                <a:latin typeface="+mj-lt"/>
                <a:sym typeface="Arial"/>
              </a:rPr>
              <a:t>Data cut-off: 17 April 2018. Objective response-evaluable patients: </a:t>
            </a:r>
            <a:r>
              <a:rPr lang="en-US" sz="900" baseline="30000" dirty="0">
                <a:solidFill>
                  <a:srgbClr val="000000"/>
                </a:solidFill>
                <a:latin typeface="+mj-lt"/>
                <a:sym typeface="Arial"/>
              </a:rPr>
              <a:t>a</a:t>
            </a:r>
            <a:r>
              <a:rPr lang="en-US" sz="900" dirty="0">
                <a:solidFill>
                  <a:srgbClr val="000000"/>
                </a:solidFill>
                <a:latin typeface="+mj-lt"/>
                <a:sym typeface="Arial"/>
              </a:rPr>
              <a:t>450 in TECENTRIQ + nab-P arm and 449 in placebo + nab-P arm</a:t>
            </a:r>
            <a:br>
              <a:rPr lang="en-US" sz="900" dirty="0">
                <a:solidFill>
                  <a:srgbClr val="000000"/>
                </a:solidFill>
                <a:latin typeface="+mj-lt"/>
                <a:sym typeface="Arial"/>
              </a:rPr>
            </a:br>
            <a:r>
              <a:rPr lang="en-US" sz="900" baseline="30000" dirty="0">
                <a:solidFill>
                  <a:srgbClr val="000000"/>
                </a:solidFill>
                <a:latin typeface="+mj-lt"/>
                <a:sym typeface="Arial"/>
              </a:rPr>
              <a:t>b</a:t>
            </a:r>
            <a:r>
              <a:rPr lang="en-US" sz="900" dirty="0">
                <a:solidFill>
                  <a:srgbClr val="000000"/>
                </a:solidFill>
                <a:latin typeface="+mj-lt"/>
                <a:sym typeface="Arial"/>
              </a:rPr>
              <a:t>185 in TECENTRIQ + nab-P arm and 183 in placebo + nab-P arm. </a:t>
            </a:r>
            <a:r>
              <a:rPr lang="en-US" sz="900" baseline="30000" dirty="0" err="1">
                <a:solidFill>
                  <a:srgbClr val="000000"/>
                </a:solidFill>
                <a:latin typeface="+mj-lt"/>
                <a:sym typeface="Arial"/>
              </a:rPr>
              <a:t>c</a:t>
            </a:r>
            <a:r>
              <a:rPr lang="en-US" sz="900" dirty="0" err="1">
                <a:solidFill>
                  <a:srgbClr val="000000"/>
                </a:solidFill>
                <a:latin typeface="+mj-lt"/>
                <a:sym typeface="Arial"/>
              </a:rPr>
              <a:t>No</a:t>
            </a:r>
            <a:r>
              <a:rPr lang="en-US" sz="900" dirty="0">
                <a:solidFill>
                  <a:srgbClr val="000000"/>
                </a:solidFill>
                <a:latin typeface="+mj-lt"/>
                <a:sym typeface="Arial"/>
              </a:rPr>
              <a:t> death or </a:t>
            </a:r>
            <a:r>
              <a:rPr lang="en-US" sz="900" dirty="0" smtClean="0">
                <a:solidFill>
                  <a:srgbClr val="000000"/>
                </a:solidFill>
                <a:latin typeface="+mj-lt"/>
                <a:sym typeface="Arial"/>
              </a:rPr>
              <a:t>PD</a:t>
            </a:r>
            <a:r>
              <a:rPr lang="cs-CZ" sz="900" dirty="0" smtClean="0">
                <a:solidFill>
                  <a:srgbClr val="000000"/>
                </a:solidFill>
                <a:latin typeface="+mj-lt"/>
                <a:sym typeface="Arial"/>
              </a:rPr>
              <a:t> PR –parciální odpověď,  CR – kompletní odpověď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cs-CZ" sz="800" dirty="0" smtClean="0">
                <a:solidFill>
                  <a:srgbClr val="000000"/>
                </a:solidFill>
                <a:latin typeface="+mj-lt"/>
              </a:rPr>
              <a:t>1. ESMO 2018  LBA1_PR IMpassion130,   2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. P. Schmid,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S.Adams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,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H.S.Rugo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, A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Schneeweiss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et al;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Atezolizumab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and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Nab-Paclitaxel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in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Advanced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Triple- </a:t>
            </a:r>
            <a:r>
              <a:rPr lang="en-US" sz="800" dirty="0">
                <a:solidFill>
                  <a:srgbClr val="000000"/>
                </a:solidFill>
                <a:latin typeface="+mj-lt"/>
              </a:rPr>
              <a:t>Negative Breast Cancer; N </a:t>
            </a:r>
            <a:r>
              <a:rPr lang="en-US" sz="800" dirty="0" err="1">
                <a:solidFill>
                  <a:srgbClr val="000000"/>
                </a:solidFill>
                <a:latin typeface="+mj-lt"/>
              </a:rPr>
              <a:t>Engl</a:t>
            </a:r>
            <a:r>
              <a:rPr lang="en-US" sz="800" dirty="0">
                <a:solidFill>
                  <a:srgbClr val="000000"/>
                </a:solidFill>
                <a:latin typeface="+mj-lt"/>
              </a:rPr>
              <a:t> J Med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2018,379:2108-21.(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Supplemantary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appendix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)</a:t>
            </a:r>
            <a:endParaRPr lang="en-US" sz="800" dirty="0">
              <a:solidFill>
                <a:srgbClr val="000000"/>
              </a:solidFill>
              <a:latin typeface="+mj-lt"/>
            </a:endParaRPr>
          </a:p>
          <a:p>
            <a:endParaRPr lang="en-US" sz="9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7" name="TextBox 57">
            <a:extLst>
              <a:ext uri="{FF2B5EF4-FFF2-40B4-BE49-F238E27FC236}">
                <a16:creationId xmlns:a16="http://schemas.microsoft.com/office/drawing/2014/main" id="{7F57A456-E1CB-4CD6-94F6-5A43DD9B9D06}"/>
              </a:ext>
            </a:extLst>
          </p:cNvPr>
          <p:cNvSpPr txBox="1"/>
          <p:nvPr/>
        </p:nvSpPr>
        <p:spPr>
          <a:xfrm>
            <a:off x="3934990" y="1670446"/>
            <a:ext cx="558166" cy="307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cs typeface="Arial" panose="020B0604020202020204" pitchFamily="34" charset="0"/>
              </a:rPr>
              <a:t>56%</a:t>
            </a:r>
            <a:endParaRPr lang="en-GB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8" name="TextBox 58">
            <a:extLst>
              <a:ext uri="{FF2B5EF4-FFF2-40B4-BE49-F238E27FC236}">
                <a16:creationId xmlns:a16="http://schemas.microsoft.com/office/drawing/2014/main" id="{980CC512-5CA7-4869-879E-D35DA8BAC44F}"/>
              </a:ext>
            </a:extLst>
          </p:cNvPr>
          <p:cNvSpPr txBox="1"/>
          <p:nvPr/>
        </p:nvSpPr>
        <p:spPr>
          <a:xfrm>
            <a:off x="4898896" y="1959396"/>
            <a:ext cx="558166" cy="307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cs typeface="Arial" panose="020B0604020202020204" pitchFamily="34" charset="0"/>
              </a:rPr>
              <a:t>46%</a:t>
            </a:r>
            <a:endParaRPr lang="en-GB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8C5977D3-2672-406D-AD09-C6EABA65F03F}"/>
              </a:ext>
            </a:extLst>
          </p:cNvPr>
          <p:cNvSpPr txBox="1"/>
          <p:nvPr/>
        </p:nvSpPr>
        <p:spPr>
          <a:xfrm>
            <a:off x="6750363" y="1643208"/>
            <a:ext cx="5581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cs typeface="Arial" panose="020B0604020202020204" pitchFamily="34" charset="0"/>
              </a:rPr>
              <a:t>59%</a:t>
            </a:r>
            <a:endParaRPr lang="en-GB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0" name="TextBox 60">
            <a:extLst>
              <a:ext uri="{FF2B5EF4-FFF2-40B4-BE49-F238E27FC236}">
                <a16:creationId xmlns:a16="http://schemas.microsoft.com/office/drawing/2014/main" id="{C444F09B-A004-4CE2-A566-EE5250B4BCAE}"/>
              </a:ext>
            </a:extLst>
          </p:cNvPr>
          <p:cNvSpPr txBox="1"/>
          <p:nvPr/>
        </p:nvSpPr>
        <p:spPr>
          <a:xfrm>
            <a:off x="7644264" y="2151733"/>
            <a:ext cx="5581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cs typeface="Arial" panose="020B0604020202020204" pitchFamily="34" charset="0"/>
              </a:rPr>
              <a:t>43%</a:t>
            </a:r>
            <a:endParaRPr lang="en-GB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1" name="TextBox 84">
            <a:extLst>
              <a:ext uri="{FF2B5EF4-FFF2-40B4-BE49-F238E27FC236}">
                <a16:creationId xmlns:a16="http://schemas.microsoft.com/office/drawing/2014/main" id="{5C517022-F001-4972-936E-2FC5341506C1}"/>
              </a:ext>
            </a:extLst>
          </p:cNvPr>
          <p:cNvSpPr txBox="1"/>
          <p:nvPr/>
        </p:nvSpPr>
        <p:spPr>
          <a:xfrm>
            <a:off x="3982279" y="2886517"/>
            <a:ext cx="46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49%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85">
            <a:extLst>
              <a:ext uri="{FF2B5EF4-FFF2-40B4-BE49-F238E27FC236}">
                <a16:creationId xmlns:a16="http://schemas.microsoft.com/office/drawing/2014/main" id="{962F1846-080D-4B38-9E2A-F6093D8D86E6}"/>
              </a:ext>
            </a:extLst>
          </p:cNvPr>
          <p:cNvSpPr txBox="1"/>
          <p:nvPr/>
        </p:nvSpPr>
        <p:spPr>
          <a:xfrm>
            <a:off x="4907288" y="3025016"/>
            <a:ext cx="46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44%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3" name="TextBox 86">
            <a:extLst>
              <a:ext uri="{FF2B5EF4-FFF2-40B4-BE49-F238E27FC236}">
                <a16:creationId xmlns:a16="http://schemas.microsoft.com/office/drawing/2014/main" id="{8CC11E46-A79C-4FC4-8C38-098AD6DF956E}"/>
              </a:ext>
            </a:extLst>
          </p:cNvPr>
          <p:cNvSpPr txBox="1"/>
          <p:nvPr/>
        </p:nvSpPr>
        <p:spPr>
          <a:xfrm>
            <a:off x="6717741" y="2874181"/>
            <a:ext cx="46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49%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4" name="TextBox 87">
            <a:extLst>
              <a:ext uri="{FF2B5EF4-FFF2-40B4-BE49-F238E27FC236}">
                <a16:creationId xmlns:a16="http://schemas.microsoft.com/office/drawing/2014/main" id="{1297FC6D-C7F6-4900-8734-B962E67869A1}"/>
              </a:ext>
            </a:extLst>
          </p:cNvPr>
          <p:cNvSpPr txBox="1"/>
          <p:nvPr/>
        </p:nvSpPr>
        <p:spPr>
          <a:xfrm>
            <a:off x="7693156" y="3096791"/>
            <a:ext cx="4603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42%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5" name="TextBox 88">
            <a:extLst>
              <a:ext uri="{FF2B5EF4-FFF2-40B4-BE49-F238E27FC236}">
                <a16:creationId xmlns:a16="http://schemas.microsoft.com/office/drawing/2014/main" id="{49AA323E-B257-441C-8ED4-48BB3A667C6D}"/>
              </a:ext>
            </a:extLst>
          </p:cNvPr>
          <p:cNvSpPr txBox="1"/>
          <p:nvPr/>
        </p:nvSpPr>
        <p:spPr>
          <a:xfrm>
            <a:off x="7578660" y="3710228"/>
            <a:ext cx="580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1%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6" name="TextBox 89">
            <a:extLst>
              <a:ext uri="{FF2B5EF4-FFF2-40B4-BE49-F238E27FC236}">
                <a16:creationId xmlns:a16="http://schemas.microsoft.com/office/drawing/2014/main" id="{1998005E-A637-4546-B603-4CDAD82F66DB}"/>
              </a:ext>
            </a:extLst>
          </p:cNvPr>
          <p:cNvSpPr txBox="1"/>
          <p:nvPr/>
        </p:nvSpPr>
        <p:spPr>
          <a:xfrm>
            <a:off x="4858764" y="3703213"/>
            <a:ext cx="4885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2%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" name="TextBox 90">
            <a:extLst>
              <a:ext uri="{FF2B5EF4-FFF2-40B4-BE49-F238E27FC236}">
                <a16:creationId xmlns:a16="http://schemas.microsoft.com/office/drawing/2014/main" id="{1362263A-F9AB-493E-BF57-E4FE15034D38}"/>
              </a:ext>
            </a:extLst>
          </p:cNvPr>
          <p:cNvSpPr txBox="1"/>
          <p:nvPr/>
        </p:nvSpPr>
        <p:spPr>
          <a:xfrm>
            <a:off x="3897608" y="3721494"/>
            <a:ext cx="4605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1"/>
                </a:solidFill>
                <a:cs typeface="Arial" panose="020B0604020202020204" pitchFamily="34" charset="0"/>
              </a:rPr>
              <a:t>7%</a:t>
            </a:r>
            <a:endParaRPr lang="en-GB" sz="12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8" name="TextBox 91">
            <a:extLst>
              <a:ext uri="{FF2B5EF4-FFF2-40B4-BE49-F238E27FC236}">
                <a16:creationId xmlns:a16="http://schemas.microsoft.com/office/drawing/2014/main" id="{22BB7502-36D5-4FE8-80BF-2C27339EFD95}"/>
              </a:ext>
            </a:extLst>
          </p:cNvPr>
          <p:cNvSpPr txBox="1"/>
          <p:nvPr/>
        </p:nvSpPr>
        <p:spPr>
          <a:xfrm>
            <a:off x="6694137" y="3681074"/>
            <a:ext cx="4603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anose="020B0604020202020204" pitchFamily="34" charset="0"/>
              </a:rPr>
              <a:t>10%</a:t>
            </a:r>
            <a:endParaRPr lang="en-GB" sz="12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pic>
        <p:nvPicPr>
          <p:cNvPr id="30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87754" y="206604"/>
            <a:ext cx="1304248" cy="792088"/>
          </a:xfrm>
          <a:prstGeom prst="rect">
            <a:avLst/>
          </a:prstGeom>
        </p:spPr>
      </p:pic>
      <p:sp>
        <p:nvSpPr>
          <p:cNvPr id="31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19780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>
          <a:xfrm>
            <a:off x="462430" y="430618"/>
            <a:ext cx="9258299" cy="454576"/>
          </a:xfrm>
        </p:spPr>
        <p:txBody>
          <a:bodyPr/>
          <a:lstStyle/>
          <a:p>
            <a:r>
              <a:rPr lang="en-US" dirty="0"/>
              <a:t>PFS </a:t>
            </a:r>
            <a:r>
              <a:rPr lang="cs-CZ" dirty="0"/>
              <a:t>analýza </a:t>
            </a:r>
            <a:r>
              <a:rPr lang="cs-CZ" dirty="0" smtClean="0"/>
              <a:t>dle podskupin : </a:t>
            </a:r>
            <a:r>
              <a:rPr lang="en-US" dirty="0" smtClean="0"/>
              <a:t>ITT </a:t>
            </a:r>
            <a:r>
              <a:rPr lang="en-US" dirty="0" err="1" smtClean="0"/>
              <a:t>popula</a:t>
            </a:r>
            <a:r>
              <a:rPr lang="cs-CZ" dirty="0" err="1" smtClean="0"/>
              <a:t>ce</a:t>
            </a:r>
            <a:r>
              <a:rPr lang="cs-CZ" b="0" baseline="30000" dirty="0" smtClean="0"/>
              <a:t> </a:t>
            </a:r>
            <a:r>
              <a:rPr lang="cs-CZ" sz="1800" b="0" baseline="30000" dirty="0" smtClean="0"/>
              <a:t>1,2</a:t>
            </a:r>
            <a:endParaRPr lang="cs-CZ" sz="1800" dirty="0"/>
          </a:p>
        </p:txBody>
      </p:sp>
      <p:graphicFrame>
        <p:nvGraphicFramePr>
          <p:cNvPr id="6" name="Content Placeholder 8">
            <a:extLst>
              <a:ext uri="{FF2B5EF4-FFF2-40B4-BE49-F238E27FC236}">
                <a16:creationId xmlns:a16="http://schemas.microsoft.com/office/drawing/2014/main" id="{583D0DD1-E649-4EF7-B92D-5D6D7E09FA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5877559"/>
              </p:ext>
            </p:extLst>
          </p:nvPr>
        </p:nvGraphicFramePr>
        <p:xfrm>
          <a:off x="6198980" y="1569264"/>
          <a:ext cx="2677408" cy="4236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itle 2">
            <a:extLst>
              <a:ext uri="{FF2B5EF4-FFF2-40B4-BE49-F238E27FC236}">
                <a16:creationId xmlns:a16="http://schemas.microsoft.com/office/drawing/2014/main" id="{D2CE06A0-CD6A-451B-BC11-F3DCF7C1E4F7}"/>
              </a:ext>
            </a:extLst>
          </p:cNvPr>
          <p:cNvSpPr txBox="1">
            <a:spLocks/>
          </p:cNvSpPr>
          <p:nvPr/>
        </p:nvSpPr>
        <p:spPr>
          <a:xfrm>
            <a:off x="462430" y="449254"/>
            <a:ext cx="10442182" cy="647356"/>
          </a:xfrm>
          <a:prstGeom prst="rect">
            <a:avLst/>
          </a:prstGeom>
        </p:spPr>
        <p:txBody>
          <a:bodyPr vert="horz" lIns="0" tIns="91416" rIns="91416" bIns="91416" rtlCol="0" anchor="ctr">
            <a:normAutofit/>
          </a:bodyPr>
          <a:lstStyle>
            <a:lvl1pPr algn="l" defTabSz="121774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64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2800" dirty="0"/>
          </a:p>
        </p:txBody>
      </p:sp>
      <p:graphicFrame>
        <p:nvGraphicFramePr>
          <p:cNvPr id="8" name="Table 42">
            <a:extLst>
              <a:ext uri="{FF2B5EF4-FFF2-40B4-BE49-F238E27FC236}">
                <a16:creationId xmlns:a16="http://schemas.microsoft.com/office/drawing/2014/main" id="{C0170471-EA8D-4E56-8F1A-20AACED7BD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510882"/>
              </p:ext>
            </p:extLst>
          </p:nvPr>
        </p:nvGraphicFramePr>
        <p:xfrm>
          <a:off x="8511372" y="1387476"/>
          <a:ext cx="1213418" cy="40861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13418">
                  <a:extLst>
                    <a:ext uri="{9D8B030D-6E8A-4147-A177-3AD203B41FA5}">
                      <a16:colId xmlns:a16="http://schemas.microsoft.com/office/drawing/2014/main" val="680178034"/>
                    </a:ext>
                  </a:extLst>
                </a:gridCol>
              </a:tblGrid>
              <a:tr h="168256"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0619041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794385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1 (0.70, 0.93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4460059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514788"/>
                  </a:ext>
                </a:extLst>
              </a:tr>
              <a:tr h="123939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0 (0.62, 1.04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1595622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79 (0.66, 0.94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360106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4524492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0 (0.65, 0.97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484053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1 (0.66, 1.00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9157207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385372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64 (0.51, 0.80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69428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95 (0.79, 1.15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689676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8050743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79 (0.53, 1.16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697112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4 (0.70, 1.01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800202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69 (0.51, 0.94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3051352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3191738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78 (0.64, 0.94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5598838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2 (0.66, 1.03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6232370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9544633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66 (0.40, 1.09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9814239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2 (0.71, 0.96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7303708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4946486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76 (0.64, 0.91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2913509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9 (0.67, 1.17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9477184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0340881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6 (0.50, 1.49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760581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0 (0.69, 0.93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576100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4287218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7 (0.72, 1.07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8768151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74 (0.60, 0.91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8019256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0784074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5 (0.71, 1.03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633525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72 (0.57, 0.92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5580990"/>
                  </a:ext>
                </a:extLst>
              </a:tr>
            </a:tbl>
          </a:graphicData>
        </a:graphic>
      </p:graphicFrame>
      <p:sp>
        <p:nvSpPr>
          <p:cNvPr id="9" name="TextBox 51">
            <a:extLst>
              <a:ext uri="{FF2B5EF4-FFF2-40B4-BE49-F238E27FC236}">
                <a16:creationId xmlns:a16="http://schemas.microsoft.com/office/drawing/2014/main" id="{BD377785-9C56-4C9B-ABB9-BD56562EF4DE}"/>
              </a:ext>
            </a:extLst>
          </p:cNvPr>
          <p:cNvSpPr txBox="1"/>
          <p:nvPr/>
        </p:nvSpPr>
        <p:spPr>
          <a:xfrm>
            <a:off x="9151743" y="5519792"/>
            <a:ext cx="2794035" cy="184666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defTabSz="385754">
              <a:defRPr/>
            </a:pPr>
            <a:r>
              <a:rPr lang="cs-CZ" sz="1200" b="1" kern="0" dirty="0" smtClean="0">
                <a:solidFill>
                  <a:srgbClr val="EA3A3A"/>
                </a:solidFill>
                <a:cs typeface="Arial" pitchFamily="34" charset="0"/>
              </a:rPr>
              <a:t>Ve prospěch  placebo + </a:t>
            </a:r>
            <a:r>
              <a:rPr lang="cs-CZ" sz="1200" b="1" kern="0" dirty="0" err="1" smtClean="0">
                <a:solidFill>
                  <a:srgbClr val="EA3A3A"/>
                </a:solidFill>
                <a:cs typeface="Arial" pitchFamily="34" charset="0"/>
              </a:rPr>
              <a:t>nab-paklitaxel</a:t>
            </a:r>
            <a:endParaRPr lang="en-US" sz="1200" b="1" kern="0" dirty="0">
              <a:solidFill>
                <a:srgbClr val="EA3A3A"/>
              </a:solidFill>
              <a:cs typeface="Arial" pitchFamily="34" charset="0"/>
            </a:endParaRPr>
          </a:p>
        </p:txBody>
      </p:sp>
      <p:sp>
        <p:nvSpPr>
          <p:cNvPr id="10" name="TextBox 53">
            <a:extLst>
              <a:ext uri="{FF2B5EF4-FFF2-40B4-BE49-F238E27FC236}">
                <a16:creationId xmlns:a16="http://schemas.microsoft.com/office/drawing/2014/main" id="{C44B10A0-91D3-4F8C-9EAB-59368BC8434A}"/>
              </a:ext>
            </a:extLst>
          </p:cNvPr>
          <p:cNvSpPr txBox="1"/>
          <p:nvPr/>
        </p:nvSpPr>
        <p:spPr>
          <a:xfrm>
            <a:off x="2556424" y="5530711"/>
            <a:ext cx="3161122" cy="184666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r" defTabSz="385754">
              <a:defRPr/>
            </a:pPr>
            <a:r>
              <a:rPr lang="cs-CZ" sz="1200" b="1" kern="0" dirty="0" smtClean="0">
                <a:solidFill>
                  <a:srgbClr val="85C2FF"/>
                </a:solidFill>
                <a:cs typeface="Arial" pitchFamily="34" charset="0"/>
              </a:rPr>
              <a:t>Ve prospěch </a:t>
            </a:r>
            <a:r>
              <a:rPr lang="cs-CZ" sz="1200" b="1" kern="0" dirty="0" err="1" smtClean="0">
                <a:solidFill>
                  <a:srgbClr val="85C2FF"/>
                </a:solidFill>
                <a:cs typeface="Arial" pitchFamily="34" charset="0"/>
              </a:rPr>
              <a:t>atezolizumab</a:t>
            </a:r>
            <a:r>
              <a:rPr lang="cs-CZ" sz="1200" b="1" kern="0" dirty="0" smtClean="0">
                <a:solidFill>
                  <a:srgbClr val="85C2FF"/>
                </a:solidFill>
                <a:cs typeface="Arial" pitchFamily="34" charset="0"/>
              </a:rPr>
              <a:t> + </a:t>
            </a:r>
            <a:r>
              <a:rPr lang="cs-CZ" sz="1200" b="1" kern="0" dirty="0" err="1" smtClean="0">
                <a:solidFill>
                  <a:srgbClr val="85C2FF"/>
                </a:solidFill>
                <a:cs typeface="Arial" pitchFamily="34" charset="0"/>
              </a:rPr>
              <a:t>nab-paklitaxel</a:t>
            </a:r>
            <a:endParaRPr lang="en-US" sz="1200" b="1" kern="0" dirty="0">
              <a:solidFill>
                <a:srgbClr val="85C2FF"/>
              </a:solidFill>
              <a:cs typeface="Arial" pitchFamily="34" charset="0"/>
            </a:endParaRPr>
          </a:p>
        </p:txBody>
      </p:sp>
      <p:cxnSp>
        <p:nvCxnSpPr>
          <p:cNvPr id="11" name="Straight Arrow Connector 57">
            <a:extLst>
              <a:ext uri="{FF2B5EF4-FFF2-40B4-BE49-F238E27FC236}">
                <a16:creationId xmlns:a16="http://schemas.microsoft.com/office/drawing/2014/main" id="{3798AE1D-0A30-4372-B163-F23F7EBBF241}"/>
              </a:ext>
            </a:extLst>
          </p:cNvPr>
          <p:cNvCxnSpPr/>
          <p:nvPr/>
        </p:nvCxnSpPr>
        <p:spPr>
          <a:xfrm>
            <a:off x="8884396" y="5576438"/>
            <a:ext cx="18288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58">
            <a:extLst>
              <a:ext uri="{FF2B5EF4-FFF2-40B4-BE49-F238E27FC236}">
                <a16:creationId xmlns:a16="http://schemas.microsoft.com/office/drawing/2014/main" id="{FA23DDE2-E2EF-462B-B603-85AE63C8DC59}"/>
              </a:ext>
            </a:extLst>
          </p:cNvPr>
          <p:cNvCxnSpPr>
            <a:cxnSpLocks/>
          </p:cNvCxnSpPr>
          <p:nvPr/>
        </p:nvCxnSpPr>
        <p:spPr>
          <a:xfrm flipH="1">
            <a:off x="5995072" y="5596795"/>
            <a:ext cx="18288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25"/>
          <p:cNvSpPr/>
          <p:nvPr/>
        </p:nvSpPr>
        <p:spPr>
          <a:xfrm>
            <a:off x="1990524" y="1781272"/>
            <a:ext cx="8084663" cy="1051852"/>
          </a:xfrm>
          <a:prstGeom prst="round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14" name="Obdélník 13"/>
          <p:cNvSpPr/>
          <p:nvPr/>
        </p:nvSpPr>
        <p:spPr>
          <a:xfrm>
            <a:off x="126046" y="1569264"/>
            <a:ext cx="1758053" cy="11156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  <a:defRPr/>
            </a:pPr>
            <a:r>
              <a:rPr lang="cs-CZ" sz="1100" b="1" dirty="0" smtClean="0"/>
              <a:t>Stratifikační faktory: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cs-CZ" sz="1200" dirty="0" err="1"/>
              <a:t>m</a:t>
            </a:r>
            <a:r>
              <a:rPr lang="en-GB" sz="1200" dirty="0" err="1" smtClean="0"/>
              <a:t>etastázy</a:t>
            </a:r>
            <a:r>
              <a:rPr lang="en-GB" sz="1200" dirty="0" smtClean="0"/>
              <a:t> </a:t>
            </a:r>
            <a:r>
              <a:rPr lang="en-GB" sz="1200" dirty="0"/>
              <a:t>v </a:t>
            </a:r>
            <a:r>
              <a:rPr lang="en-GB" sz="1200" dirty="0" err="1" smtClean="0"/>
              <a:t>játrech</a:t>
            </a:r>
            <a:endParaRPr lang="cs-CZ" sz="1200" dirty="0" smtClean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GB" sz="1200" dirty="0" err="1" smtClean="0"/>
              <a:t>předchozí</a:t>
            </a:r>
            <a:r>
              <a:rPr lang="en-GB" sz="1200" dirty="0" smtClean="0"/>
              <a:t> </a:t>
            </a:r>
            <a:r>
              <a:rPr lang="cs-CZ" sz="1200" dirty="0" smtClean="0"/>
              <a:t>léčba</a:t>
            </a:r>
            <a:r>
              <a:rPr lang="en-GB" sz="1200" dirty="0" smtClean="0"/>
              <a:t> </a:t>
            </a:r>
            <a:r>
              <a:rPr lang="en-GB" sz="1200" dirty="0" err="1" smtClean="0"/>
              <a:t>taxan</a:t>
            </a:r>
            <a:r>
              <a:rPr lang="cs-CZ" sz="1200" dirty="0" smtClean="0"/>
              <a:t>y</a:t>
            </a:r>
            <a:r>
              <a:rPr lang="en-GB" sz="1200" dirty="0" smtClean="0"/>
              <a:t> </a:t>
            </a:r>
            <a:endParaRPr lang="cs-CZ" sz="1200" dirty="0" smtClean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PD-L1</a:t>
            </a:r>
            <a:r>
              <a:rPr lang="cs-CZ" sz="1200" dirty="0" smtClean="0"/>
              <a:t> status</a:t>
            </a:r>
            <a:endParaRPr lang="en-GB" sz="1200" dirty="0"/>
          </a:p>
        </p:txBody>
      </p:sp>
      <p:graphicFrame>
        <p:nvGraphicFramePr>
          <p:cNvPr id="15" name="Table 41">
            <a:extLst>
              <a:ext uri="{FF2B5EF4-FFF2-40B4-BE49-F238E27FC236}">
                <a16:creationId xmlns:a16="http://schemas.microsoft.com/office/drawing/2014/main" id="{1557086A-4860-41C6-9A9A-522AB92FD1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468188"/>
              </p:ext>
            </p:extLst>
          </p:nvPr>
        </p:nvGraphicFramePr>
        <p:xfrm>
          <a:off x="2074989" y="1281442"/>
          <a:ext cx="4700630" cy="42405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13280">
                  <a:extLst>
                    <a:ext uri="{9D8B030D-6E8A-4147-A177-3AD203B41FA5}">
                      <a16:colId xmlns:a16="http://schemas.microsoft.com/office/drawing/2014/main" val="2568119701"/>
                    </a:ext>
                  </a:extLst>
                </a:gridCol>
                <a:gridCol w="1503632">
                  <a:extLst>
                    <a:ext uri="{9D8B030D-6E8A-4147-A177-3AD203B41FA5}">
                      <a16:colId xmlns:a16="http://schemas.microsoft.com/office/drawing/2014/main" val="1822521405"/>
                    </a:ext>
                  </a:extLst>
                </a:gridCol>
                <a:gridCol w="883718">
                  <a:extLst>
                    <a:ext uri="{9D8B030D-6E8A-4147-A177-3AD203B41FA5}">
                      <a16:colId xmlns:a16="http://schemas.microsoft.com/office/drawing/2014/main" val="1100203597"/>
                    </a:ext>
                  </a:extLst>
                </a:gridCol>
              </a:tblGrid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cs-CZ" sz="14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Charakteristika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očet</a:t>
                      </a:r>
                      <a:r>
                        <a:rPr lang="cs-CZ" sz="14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pacientů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0619041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0459788"/>
                  </a:ext>
                </a:extLst>
              </a:tr>
              <a:tr h="11603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Všichni</a:t>
                      </a:r>
                      <a:r>
                        <a:rPr lang="cs-CZ" sz="10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pacienti</a:t>
                      </a:r>
                      <a:endParaRPr 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902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8102538"/>
                  </a:ext>
                </a:extLst>
              </a:tr>
              <a:tr h="146147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525339"/>
                  </a:ext>
                </a:extLst>
              </a:tr>
              <a:tr h="49347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Metastázy v játrech na začátku léčby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An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24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0474793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e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658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9769229"/>
                  </a:ext>
                </a:extLst>
              </a:tr>
              <a:tr h="119208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2445083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ředchozí</a:t>
                      </a:r>
                      <a:r>
                        <a:rPr lang="cs-CZ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léčba </a:t>
                      </a:r>
                      <a:r>
                        <a:rPr lang="cs-CZ" sz="11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taxany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An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461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0131065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e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441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3913671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7775040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D-L1 status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D-L1+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369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69428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D-L1–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533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689676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97145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Věk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18–40 y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11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7113863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41–64 y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569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800202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≥65 y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219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3051352"/>
                  </a:ext>
                </a:extLst>
              </a:tr>
              <a:tr h="11211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5795029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ECOG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S</a:t>
                      </a:r>
                      <a:r>
                        <a:rPr lang="cs-CZ" sz="1100" b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a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526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1847162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1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372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6758532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0504316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Výchozí</a:t>
                      </a:r>
                      <a:r>
                        <a:rPr lang="cs-CZ" sz="1100" b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stav onemocnění</a:t>
                      </a:r>
                      <a:endParaRPr lang="en-US" sz="11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Lo</a:t>
                      </a:r>
                      <a:r>
                        <a:rPr lang="cs-CZ" sz="11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kálně</a:t>
                      </a:r>
                      <a:r>
                        <a:rPr lang="cs-CZ" sz="11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pokročilý</a:t>
                      </a:r>
                      <a:endParaRPr lang="en-US" sz="11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88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238907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cs-CZ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metastatický</a:t>
                      </a:r>
                      <a:endParaRPr lang="en-US" sz="11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812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844470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1" i="0" u="none" strike="noStrike" baseline="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4919906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očet zasažených lokalit</a:t>
                      </a:r>
                      <a:endParaRPr lang="en-US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–3</a:t>
                      </a:r>
                      <a:r>
                        <a:rPr lang="cs-CZ" sz="110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b</a:t>
                      </a:r>
                      <a:endParaRPr lang="en-US" sz="11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673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0705149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3</a:t>
                      </a:r>
                      <a:r>
                        <a:rPr lang="cs-CZ" sz="110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b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226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346444"/>
                  </a:ext>
                </a:extLst>
              </a:tr>
              <a:tr h="201552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1676539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Metastázy</a:t>
                      </a:r>
                      <a:r>
                        <a:rPr lang="cs-CZ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v mozku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An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61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7075794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841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879679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724344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Metastázy</a:t>
                      </a:r>
                      <a:r>
                        <a:rPr lang="cs-CZ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v plicích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An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468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8845788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e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434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753206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5196210"/>
                  </a:ext>
                </a:extLst>
              </a:tr>
              <a:tr h="223950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1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ředchozí</a:t>
                      </a: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eo)adjuvant</a:t>
                      </a: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í</a:t>
                      </a: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chem</a:t>
                      </a:r>
                      <a:r>
                        <a:rPr lang="cs-CZ" sz="11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oterapie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An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570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8698875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e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332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1625402"/>
                  </a:ext>
                </a:extLst>
              </a:tr>
            </a:tbl>
          </a:graphicData>
        </a:graphic>
      </p:graphicFrame>
      <p:sp>
        <p:nvSpPr>
          <p:cNvPr id="17" name="Obdélník 16"/>
          <p:cNvSpPr/>
          <p:nvPr/>
        </p:nvSpPr>
        <p:spPr>
          <a:xfrm>
            <a:off x="0" y="6028815"/>
            <a:ext cx="97312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dirty="0">
                <a:solidFill>
                  <a:srgbClr val="000000"/>
                </a:solidFill>
                <a:latin typeface="Imago"/>
              </a:rPr>
              <a:t>Data cut-off: 17 April 2018. </a:t>
            </a:r>
            <a:br>
              <a:rPr lang="en-GB" sz="800" dirty="0">
                <a:solidFill>
                  <a:srgbClr val="000000"/>
                </a:solidFill>
                <a:latin typeface="Imago"/>
              </a:rPr>
            </a:br>
            <a:r>
              <a:rPr lang="en-GB" sz="800" dirty="0" err="1" smtClean="0">
                <a:solidFill>
                  <a:srgbClr val="000000"/>
                </a:solidFill>
                <a:latin typeface="Imago"/>
              </a:rPr>
              <a:t>Unstratified</a:t>
            </a:r>
            <a:r>
              <a:rPr lang="en-GB" sz="800" dirty="0" smtClean="0">
                <a:solidFill>
                  <a:srgbClr val="000000"/>
                </a:solidFill>
                <a:latin typeface="Imago"/>
              </a:rPr>
              <a:t> </a:t>
            </a:r>
            <a:r>
              <a:rPr lang="en-GB" sz="800" dirty="0">
                <a:solidFill>
                  <a:srgbClr val="000000"/>
                </a:solidFill>
                <a:latin typeface="Imago"/>
              </a:rPr>
              <a:t>HRs are shown; 95% CIs are plotted as error bars. Dashed vertical line represents value in ITT population</a:t>
            </a:r>
            <a:br>
              <a:rPr lang="en-GB" sz="800" dirty="0">
                <a:solidFill>
                  <a:srgbClr val="000000"/>
                </a:solidFill>
                <a:latin typeface="Imago"/>
              </a:rPr>
            </a:br>
            <a:r>
              <a:rPr lang="cs-CZ" sz="800" baseline="30000" dirty="0" err="1">
                <a:solidFill>
                  <a:srgbClr val="000000"/>
                </a:solidFill>
                <a:latin typeface="Imago"/>
              </a:rPr>
              <a:t>a</a:t>
            </a:r>
            <a:r>
              <a:rPr lang="en-GB" sz="800" dirty="0" smtClean="0">
                <a:solidFill>
                  <a:srgbClr val="000000"/>
                </a:solidFill>
                <a:latin typeface="Imago"/>
              </a:rPr>
              <a:t>Patients </a:t>
            </a:r>
            <a:r>
              <a:rPr lang="en-GB" sz="800" dirty="0">
                <a:solidFill>
                  <a:srgbClr val="000000"/>
                </a:solidFill>
                <a:latin typeface="Imago"/>
              </a:rPr>
              <a:t>with ECOG PS 2 not plotted. </a:t>
            </a:r>
            <a:r>
              <a:rPr lang="cs-CZ" sz="800" baseline="30000" dirty="0" err="1">
                <a:solidFill>
                  <a:srgbClr val="000000"/>
                </a:solidFill>
                <a:latin typeface="Imago"/>
              </a:rPr>
              <a:t>b</a:t>
            </a:r>
            <a:r>
              <a:rPr lang="en-GB" sz="800" dirty="0" smtClean="0">
                <a:solidFill>
                  <a:srgbClr val="000000"/>
                </a:solidFill>
                <a:latin typeface="Imago"/>
              </a:rPr>
              <a:t>Excludes </a:t>
            </a:r>
            <a:r>
              <a:rPr lang="en-GB" sz="800" dirty="0">
                <a:solidFill>
                  <a:srgbClr val="000000"/>
                </a:solidFill>
                <a:latin typeface="Imago"/>
              </a:rPr>
              <a:t>patients with unknown/other values </a:t>
            </a:r>
            <a:endParaRPr lang="cs-CZ" sz="800" dirty="0">
              <a:solidFill>
                <a:srgbClr val="000000"/>
              </a:solidFill>
            </a:endParaRPr>
          </a:p>
        </p:txBody>
      </p:sp>
      <p:sp>
        <p:nvSpPr>
          <p:cNvPr id="18" name="Obdélník 17"/>
          <p:cNvSpPr/>
          <p:nvPr/>
        </p:nvSpPr>
        <p:spPr>
          <a:xfrm>
            <a:off x="-1" y="6669606"/>
            <a:ext cx="1194577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 </a:t>
            </a:r>
            <a:r>
              <a:rPr lang="cs-CZ" sz="800" dirty="0">
                <a:solidFill>
                  <a:srgbClr val="000000"/>
                </a:solidFill>
              </a:rPr>
              <a:t>ESMO 2018  LBA1_PR </a:t>
            </a:r>
            <a:r>
              <a:rPr lang="cs-CZ" sz="800" dirty="0" smtClean="0">
                <a:solidFill>
                  <a:srgbClr val="000000"/>
                </a:solidFill>
              </a:rPr>
              <a:t>IMpassion130,  2</a:t>
            </a:r>
            <a:r>
              <a:rPr lang="cs-CZ" sz="800" dirty="0">
                <a:solidFill>
                  <a:srgbClr val="000000"/>
                </a:solidFill>
              </a:rPr>
              <a:t>. P. Schmid, </a:t>
            </a:r>
            <a:r>
              <a:rPr lang="cs-CZ" sz="800" dirty="0" err="1">
                <a:solidFill>
                  <a:srgbClr val="000000"/>
                </a:solidFill>
              </a:rPr>
              <a:t>S.Adams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err="1">
                <a:solidFill>
                  <a:srgbClr val="000000"/>
                </a:solidFill>
              </a:rPr>
              <a:t>H.S.Rugo</a:t>
            </a:r>
            <a:r>
              <a:rPr lang="cs-CZ" sz="800" dirty="0">
                <a:solidFill>
                  <a:srgbClr val="000000"/>
                </a:solidFill>
              </a:rPr>
              <a:t>, A </a:t>
            </a:r>
            <a:r>
              <a:rPr lang="cs-CZ" sz="800" dirty="0" err="1">
                <a:solidFill>
                  <a:srgbClr val="000000"/>
                </a:solidFill>
              </a:rPr>
              <a:t>Schneeweiss</a:t>
            </a:r>
            <a:r>
              <a:rPr lang="cs-CZ" sz="800" dirty="0">
                <a:solidFill>
                  <a:srgbClr val="000000"/>
                </a:solidFill>
              </a:rPr>
              <a:t> et al; </a:t>
            </a:r>
            <a:r>
              <a:rPr lang="cs-CZ" sz="800" dirty="0" err="1">
                <a:solidFill>
                  <a:srgbClr val="000000"/>
                </a:solidFill>
              </a:rPr>
              <a:t>Atezolizumab</a:t>
            </a:r>
            <a:r>
              <a:rPr lang="cs-CZ" sz="800" dirty="0">
                <a:solidFill>
                  <a:srgbClr val="000000"/>
                </a:solidFill>
              </a:rPr>
              <a:t> and </a:t>
            </a:r>
            <a:r>
              <a:rPr lang="cs-CZ" sz="800" dirty="0" err="1">
                <a:solidFill>
                  <a:srgbClr val="000000"/>
                </a:solidFill>
              </a:rPr>
              <a:t>Nab-Paclitaxel</a:t>
            </a:r>
            <a:r>
              <a:rPr lang="cs-CZ" sz="800" dirty="0">
                <a:solidFill>
                  <a:srgbClr val="000000"/>
                </a:solidFill>
              </a:rPr>
              <a:t> in </a:t>
            </a:r>
            <a:r>
              <a:rPr lang="cs-CZ" sz="800" dirty="0" err="1">
                <a:solidFill>
                  <a:srgbClr val="000000"/>
                </a:solidFill>
              </a:rPr>
              <a:t>Advanced</a:t>
            </a:r>
            <a:r>
              <a:rPr lang="cs-CZ" sz="800" dirty="0">
                <a:solidFill>
                  <a:srgbClr val="000000"/>
                </a:solidFill>
              </a:rPr>
              <a:t> Triple- </a:t>
            </a:r>
            <a:r>
              <a:rPr lang="en-US" sz="800" dirty="0">
                <a:solidFill>
                  <a:srgbClr val="000000"/>
                </a:solidFill>
              </a:rPr>
              <a:t>Negative Breast Cancer; N </a:t>
            </a:r>
            <a:r>
              <a:rPr lang="en-US" sz="800" dirty="0" err="1">
                <a:solidFill>
                  <a:srgbClr val="000000"/>
                </a:solidFill>
              </a:rPr>
              <a:t>Engl</a:t>
            </a:r>
            <a:r>
              <a:rPr lang="en-US" sz="800" dirty="0">
                <a:solidFill>
                  <a:srgbClr val="000000"/>
                </a:solidFill>
              </a:rPr>
              <a:t> J Med</a:t>
            </a:r>
            <a:r>
              <a:rPr lang="cs-CZ" sz="800" dirty="0">
                <a:solidFill>
                  <a:srgbClr val="000000"/>
                </a:solidFill>
              </a:rPr>
              <a:t> 2018,379:2108-21.(</a:t>
            </a:r>
            <a:r>
              <a:rPr lang="cs-CZ" sz="800" dirty="0" err="1">
                <a:solidFill>
                  <a:srgbClr val="000000"/>
                </a:solidFill>
              </a:rPr>
              <a:t>Supplemantary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err="1">
                <a:solidFill>
                  <a:srgbClr val="000000"/>
                </a:solidFill>
              </a:rPr>
              <a:t>appendix</a:t>
            </a:r>
            <a:r>
              <a:rPr lang="cs-CZ" sz="800" dirty="0">
                <a:solidFill>
                  <a:srgbClr val="000000"/>
                </a:solidFill>
              </a:rPr>
              <a:t>)</a:t>
            </a:r>
            <a:endParaRPr lang="en-US" sz="800" dirty="0">
              <a:solidFill>
                <a:srgbClr val="000000"/>
              </a:solidFill>
            </a:endParaRPr>
          </a:p>
          <a:p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21" name="Straight Connector 45">
            <a:extLst>
              <a:ext uri="{FF2B5EF4-FFF2-40B4-BE49-F238E27FC236}">
                <a16:creationId xmlns:a16="http://schemas.microsoft.com/office/drawing/2014/main" id="{16C6E46D-2D6C-42F2-938D-59A95FB500E0}"/>
              </a:ext>
            </a:extLst>
          </p:cNvPr>
          <p:cNvCxnSpPr>
            <a:cxnSpLocks/>
          </p:cNvCxnSpPr>
          <p:nvPr/>
        </p:nvCxnSpPr>
        <p:spPr>
          <a:xfrm>
            <a:off x="7776829" y="1701364"/>
            <a:ext cx="0" cy="3636383"/>
          </a:xfrm>
          <a:prstGeom prst="line">
            <a:avLst/>
          </a:prstGeom>
          <a:ln w="1587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aoblený obdélník 1"/>
          <p:cNvSpPr/>
          <p:nvPr/>
        </p:nvSpPr>
        <p:spPr>
          <a:xfrm>
            <a:off x="126046" y="1780680"/>
            <a:ext cx="1697356" cy="1051852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cs-CZ" dirty="0" err="1" smtClean="0"/>
          </a:p>
        </p:txBody>
      </p:sp>
      <p:pic>
        <p:nvPicPr>
          <p:cNvPr id="22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3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54329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EA&quot; g=&quot;77&quot; b=&quot;04&quot;/&gt;&lt;m_nBrightness tagver0=&quot;26206&quot; tagname0=&quot;m_nBrightnessUNRECOGNIZED&quot; val=&quot;0&quot;/&gt;&lt;/elem&gt;&lt;elem m_fUsage=&quot;9.00000000000000022204E-01&quot;&gt;&lt;m_msothmcolidx val=&quot;0&quot;/&gt;&lt;m_rgb r=&quot;77&quot; g=&quot;BB&quot; b=&quot;4A&quot;/&gt;&lt;m_nBrightness tagver0=&quot;26206&quot; tagname0=&quot;m_nBrightnessUNRECOGNIZED&quot; val=&quot;0&quot;/&gt;&lt;/elem&gt;&lt;elem m_fUsage=&quot;8.10000000000000053291E-01&quot;&gt;&lt;m_msothmcolidx val=&quot;0&quot;/&gt;&lt;m_rgb r=&quot;14&quot; g=&quot;71&quot; b=&quot;06&quot;/&gt;&lt;m_nBrightness tagver0=&quot;26206&quot; tagname0=&quot;m_nBrightnessUNRECOGNIZED&quot; val=&quot;0&quot;/&gt;&lt;/elem&gt;&lt;elem m_fUsage=&quot;7.29000000000000092371E-01&quot;&gt;&lt;m_msothmcolidx val=&quot;0&quot;/&gt;&lt;m_rgb r=&quot;BC&quot; g=&quot;F5&quot; b=&quot;1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VARPPTCOMPATIBLERD03" val="RXP"/>
  <p:tag name="VARPPTTYPE" val="RXP"/>
  <p:tag name="VARPPTSLIDEFORMAT" val="RXP"/>
  <p:tag name="VARPPTCOMPATIBLE4" val="RXP"/>
  <p:tag name="VARSAVEMESSAGETIMESTAMP" val="RXP24.09.20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QHsdJGT8qi6yKGwzG2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RTITLESLIDEMODE" val="RXP1"/>
</p:tagLst>
</file>

<file path=ppt/theme/theme1.xml><?xml version="1.0" encoding="utf-8"?>
<a:theme xmlns:a="http://schemas.openxmlformats.org/drawingml/2006/main" name="Start">
  <a:themeElements>
    <a:clrScheme name="Tecentriq">
      <a:dk1>
        <a:srgbClr val="6E295B"/>
      </a:dk1>
      <a:lt1>
        <a:srgbClr val="FFFFFF"/>
      </a:lt1>
      <a:dk2>
        <a:srgbClr val="55565A"/>
      </a:dk2>
      <a:lt2>
        <a:srgbClr val="FFFFFF"/>
      </a:lt2>
      <a:accent1>
        <a:srgbClr val="6E295B"/>
      </a:accent1>
      <a:accent2>
        <a:srgbClr val="D71732"/>
      </a:accent2>
      <a:accent3>
        <a:srgbClr val="22ACEA"/>
      </a:accent3>
      <a:accent4>
        <a:srgbClr val="808285"/>
      </a:accent4>
      <a:accent5>
        <a:srgbClr val="F8BE17"/>
      </a:accent5>
      <a:accent6>
        <a:srgbClr val="004682"/>
      </a:accent6>
      <a:hlink>
        <a:srgbClr val="0083B6"/>
      </a:hlink>
      <a:folHlink>
        <a:srgbClr val="A8A8A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tx1"/>
          </a:solidFill>
        </a:ln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rmAutofit fontScale="77500" lnSpcReduction="20000"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Roche">
  <a:themeElements>
    <a:clrScheme name="Roche 2">
      <a:dk1>
        <a:srgbClr val="000000"/>
      </a:dk1>
      <a:lt1>
        <a:srgbClr val="FFFFFF"/>
      </a:lt1>
      <a:dk2>
        <a:srgbClr val="969696"/>
      </a:dk2>
      <a:lt2>
        <a:srgbClr val="FF7F00"/>
      </a:lt2>
      <a:accent1>
        <a:srgbClr val="FF7F00"/>
      </a:accent1>
      <a:accent2>
        <a:srgbClr val="800080"/>
      </a:accent2>
      <a:accent3>
        <a:srgbClr val="FFCC00"/>
      </a:accent3>
      <a:accent4>
        <a:srgbClr val="9933FF"/>
      </a:accent4>
      <a:accent5>
        <a:srgbClr val="009900"/>
      </a:accent5>
      <a:accent6>
        <a:srgbClr val="0082DA"/>
      </a:accent6>
      <a:hlink>
        <a:srgbClr val="9933FF"/>
      </a:hlink>
      <a:folHlink>
        <a:srgbClr val="FF3300"/>
      </a:folHlink>
    </a:clrScheme>
    <a:fontScheme name="Roche">
      <a:majorFont>
        <a:latin typeface="Imago"/>
        <a:ea typeface=""/>
        <a:cs typeface=""/>
      </a:majorFont>
      <a:minorFont>
        <a:latin typeface="Imag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Imago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Imago" pitchFamily="2" charset="0"/>
          </a:defRPr>
        </a:defPPr>
      </a:lstStyle>
      <a:style>
        <a:lnRef idx="1">
          <a:schemeClr val="tx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Roche 1">
        <a:dk1>
          <a:srgbClr val="FF7F00"/>
        </a:dk1>
        <a:lt1>
          <a:srgbClr val="FFFFFF"/>
        </a:lt1>
        <a:dk2>
          <a:srgbClr val="0028A0"/>
        </a:dk2>
        <a:lt2>
          <a:srgbClr val="969696"/>
        </a:lt2>
        <a:accent1>
          <a:srgbClr val="FF7F00"/>
        </a:accent1>
        <a:accent2>
          <a:srgbClr val="800080"/>
        </a:accent2>
        <a:accent3>
          <a:srgbClr val="FFCC00"/>
        </a:accent3>
        <a:accent4>
          <a:srgbClr val="9933FF"/>
        </a:accent4>
        <a:accent5>
          <a:srgbClr val="009900"/>
        </a:accent5>
        <a:accent6>
          <a:srgbClr val="0082DA"/>
        </a:accent6>
        <a:hlink>
          <a:srgbClr val="9933FF"/>
        </a:hlink>
        <a:folHlink>
          <a:srgbClr val="FF33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oche 2">
        <a:dk1>
          <a:srgbClr val="000000"/>
        </a:dk1>
        <a:lt1>
          <a:srgbClr val="FFFFFF"/>
        </a:lt1>
        <a:dk2>
          <a:srgbClr val="969696"/>
        </a:dk2>
        <a:lt2>
          <a:srgbClr val="FF7F00"/>
        </a:lt2>
        <a:accent1>
          <a:srgbClr val="FF7F00"/>
        </a:accent1>
        <a:accent2>
          <a:srgbClr val="800080"/>
        </a:accent2>
        <a:accent3>
          <a:srgbClr val="FFCC00"/>
        </a:accent3>
        <a:accent4>
          <a:srgbClr val="9933FF"/>
        </a:accent4>
        <a:accent5>
          <a:srgbClr val="009900"/>
        </a:accent5>
        <a:accent6>
          <a:srgbClr val="0082DA"/>
        </a:accent6>
        <a:hlink>
          <a:srgbClr val="9933FF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oche 3">
        <a:dk1>
          <a:srgbClr val="000000"/>
        </a:dk1>
        <a:lt1>
          <a:srgbClr val="FFFFFF"/>
        </a:lt1>
        <a:dk2>
          <a:srgbClr val="959595"/>
        </a:dk2>
        <a:lt2>
          <a:srgbClr val="676767"/>
        </a:lt2>
        <a:accent1>
          <a:srgbClr val="B2B2B2"/>
        </a:accent1>
        <a:accent2>
          <a:srgbClr val="4D4D4D"/>
        </a:accent2>
        <a:accent3>
          <a:srgbClr val="FFFFFF"/>
        </a:accent3>
        <a:accent4>
          <a:srgbClr val="000000"/>
        </a:accent4>
        <a:accent5>
          <a:srgbClr val="D5D5D5"/>
        </a:accent5>
        <a:accent6>
          <a:srgbClr val="454545"/>
        </a:accent6>
        <a:hlink>
          <a:srgbClr val="EAEAEA"/>
        </a:hlink>
        <a:folHlink>
          <a:srgbClr val="CECEC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Custom 29">
      <a:dk1>
        <a:sysClr val="windowText" lastClr="000000"/>
      </a:dk1>
      <a:lt1>
        <a:sysClr val="window" lastClr="FFFFFF"/>
      </a:lt1>
      <a:dk2>
        <a:srgbClr val="6E1E50"/>
      </a:dk2>
      <a:lt2>
        <a:srgbClr val="EEECE1"/>
      </a:lt2>
      <a:accent1>
        <a:srgbClr val="1E325F"/>
      </a:accent1>
      <a:accent2>
        <a:srgbClr val="6E1E50"/>
      </a:accent2>
      <a:accent3>
        <a:srgbClr val="7D8232"/>
      </a:accent3>
      <a:accent4>
        <a:srgbClr val="32502D"/>
      </a:accent4>
      <a:accent5>
        <a:srgbClr val="8795A0"/>
      </a:accent5>
      <a:accent6>
        <a:srgbClr val="56639D"/>
      </a:accent6>
      <a:hlink>
        <a:srgbClr val="000000"/>
      </a:hlink>
      <a:folHlink>
        <a:srgbClr val="000000"/>
      </a:folHlink>
    </a:clrScheme>
    <a:fontScheme name="Custom 6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>
          <a:defRPr dirty="0" smtClean="0">
            <a:latin typeface="+mn-lt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marR="0" indent="0" algn="l" defTabSz="4572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i="0" u="none" strike="noStrike" kern="1200" baseline="0" dirty="0" smtClean="0">
            <a:latin typeface="Arial Narrow"/>
            <a:ea typeface="+mn-ea"/>
            <a:cs typeface="Arial Narrow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Template for Roche ESMO October 2018">
  <a:themeElements>
    <a:clrScheme name="Custom 87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66CC"/>
      </a:accent1>
      <a:accent2>
        <a:srgbClr val="8543BB"/>
      </a:accent2>
      <a:accent3>
        <a:srgbClr val="75B4DA"/>
      </a:accent3>
      <a:accent4>
        <a:srgbClr val="A3A39B"/>
      </a:accent4>
      <a:accent5>
        <a:srgbClr val="009A80"/>
      </a:accent5>
      <a:accent6>
        <a:srgbClr val="9DACDB"/>
      </a:accent6>
      <a:hlink>
        <a:srgbClr val="5871C1"/>
      </a:hlink>
      <a:folHlink>
        <a:srgbClr val="7F7F7F"/>
      </a:folHlink>
    </a:clrScheme>
    <a:fontScheme name="Custom 37">
      <a:majorFont>
        <a:latin typeface="Imago"/>
        <a:ea typeface="MS PGothic"/>
        <a:cs typeface=""/>
      </a:majorFont>
      <a:minorFont>
        <a:latin typeface="Imag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Imago-Medium" pitchFamily="2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Imago-Medium" pitchFamily="2" charset="0"/>
            <a:ea typeface="MS PGothic" pitchFamily="34" charset="-128"/>
          </a:defRPr>
        </a:defPPr>
      </a:lstStyle>
    </a:lnDef>
  </a:objectDefaults>
  <a:extraClrSchemeLst>
    <a:extraClrScheme>
      <a:clrScheme name="Roche 1">
        <a:dk1>
          <a:srgbClr val="000000"/>
        </a:dk1>
        <a:lt1>
          <a:srgbClr val="FFFFFF"/>
        </a:lt1>
        <a:dk2>
          <a:srgbClr val="0079C2"/>
        </a:dk2>
        <a:lt2>
          <a:srgbClr val="D9D9D9"/>
        </a:lt2>
        <a:accent1>
          <a:srgbClr val="FB6D13"/>
        </a:accent1>
        <a:accent2>
          <a:srgbClr val="068D05"/>
        </a:accent2>
        <a:accent3>
          <a:srgbClr val="FFFFFF"/>
        </a:accent3>
        <a:accent4>
          <a:srgbClr val="000000"/>
        </a:accent4>
        <a:accent5>
          <a:srgbClr val="FDBAAA"/>
        </a:accent5>
        <a:accent6>
          <a:srgbClr val="057F04"/>
        </a:accent6>
        <a:hlink>
          <a:srgbClr val="7F7F7F"/>
        </a:hlink>
        <a:folHlink>
          <a:srgbClr val="D5E1E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F799958F-B579-426C-8E72-C5861934B93B}" vid="{69FD0B04-A3BF-4473-A22C-D84CF08D02FA}"/>
    </a:ext>
  </a:extLst>
</a:theme>
</file>

<file path=ppt/theme/theme5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Roche 2">
    <a:dk1>
      <a:srgbClr val="000000"/>
    </a:dk1>
    <a:lt1>
      <a:srgbClr val="FFFFFF"/>
    </a:lt1>
    <a:dk2>
      <a:srgbClr val="969696"/>
    </a:dk2>
    <a:lt2>
      <a:srgbClr val="FF7F00"/>
    </a:lt2>
    <a:accent1>
      <a:srgbClr val="FF7F00"/>
    </a:accent1>
    <a:accent2>
      <a:srgbClr val="800080"/>
    </a:accent2>
    <a:accent3>
      <a:srgbClr val="FFCC00"/>
    </a:accent3>
    <a:accent4>
      <a:srgbClr val="9933FF"/>
    </a:accent4>
    <a:accent5>
      <a:srgbClr val="009900"/>
    </a:accent5>
    <a:accent6>
      <a:srgbClr val="0082DA"/>
    </a:accent6>
    <a:hlink>
      <a:srgbClr val="9933FF"/>
    </a:hlink>
    <a:folHlink>
      <a:srgbClr val="FF3300"/>
    </a:folHlink>
  </a:clrScheme>
</a:themeOverride>
</file>

<file path=ppt/theme/themeOverride2.xml><?xml version="1.0" encoding="utf-8"?>
<a:themeOverride xmlns:a="http://schemas.openxmlformats.org/drawingml/2006/main">
  <a:clrScheme name="Custom 98">
    <a:dk1>
      <a:sysClr val="windowText" lastClr="000000"/>
    </a:dk1>
    <a:lt1>
      <a:sysClr val="window" lastClr="FFFFFF"/>
    </a:lt1>
    <a:dk2>
      <a:srgbClr val="4D4D5F"/>
    </a:dk2>
    <a:lt2>
      <a:srgbClr val="EAE6E8"/>
    </a:lt2>
    <a:accent1>
      <a:srgbClr val="0563C1"/>
    </a:accent1>
    <a:accent2>
      <a:srgbClr val="DE007E"/>
    </a:accent2>
    <a:accent3>
      <a:srgbClr val="EC9F14"/>
    </a:accent3>
    <a:accent4>
      <a:srgbClr val="009999"/>
    </a:accent4>
    <a:accent5>
      <a:srgbClr val="B2D1F0"/>
    </a:accent5>
    <a:accent6>
      <a:srgbClr val="7F7F7F"/>
    </a:accent6>
    <a:hlink>
      <a:srgbClr val="0563C1"/>
    </a:hlink>
    <a:folHlink>
      <a:srgbClr val="954F72"/>
    </a:folHlink>
  </a:clrScheme>
  <a:fontScheme name="Roche">
    <a:majorFont>
      <a:latin typeface="Imago"/>
      <a:ea typeface=""/>
      <a:cs typeface=""/>
    </a:majorFont>
    <a:minorFont>
      <a:latin typeface="Imag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heckIn_x0020_Workflow xmlns="a60e5538-65d5-40b2-995c-731e9579326c">
      <Url xsi:nil="true"/>
      <Description xsi:nil="true"/>
    </CheckIn_x0020_Workflow>
    <yeak xmlns="a60e5538-65d5-40b2-995c-731e9579326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1179F2CDC03045B7E27BFA7E2C1985" ma:contentTypeVersion="23" ma:contentTypeDescription="Create a new document." ma:contentTypeScope="" ma:versionID="05d26408fca15663a7fb47e1be0d3d92">
  <xsd:schema xmlns:xsd="http://www.w3.org/2001/XMLSchema" xmlns:xs="http://www.w3.org/2001/XMLSchema" xmlns:p="http://schemas.microsoft.com/office/2006/metadata/properties" xmlns:ns2="58efb1c5-837f-45ae-93da-6370a20ee6c7" xmlns:ns3="a60e5538-65d5-40b2-995c-731e9579326c" targetNamespace="http://schemas.microsoft.com/office/2006/metadata/properties" ma:root="true" ma:fieldsID="0a144cc8a8596306519401acc0558d4d" ns2:_="" ns3:_="">
    <xsd:import namespace="58efb1c5-837f-45ae-93da-6370a20ee6c7"/>
    <xsd:import namespace="a60e5538-65d5-40b2-995c-731e9579326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  <xsd:element ref="ns2:LastSharedByUser" minOccurs="0"/>
                <xsd:element ref="ns2:LastSharedByTime" minOccurs="0"/>
                <xsd:element ref="ns3:CheckIn_x0020_Workflow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yeak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fb1c5-837f-45ae-93da-6370a20ee6c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0e5538-65d5-40b2-995c-731e9579326c" elementFormDefault="qualified">
    <xsd:import namespace="http://schemas.microsoft.com/office/2006/documentManagement/types"/>
    <xsd:import namespace="http://schemas.microsoft.com/office/infopath/2007/PartnerControls"/>
    <xsd:element name="CheckIn_x0020_Workflow" ma:index="13" nillable="true" ma:displayName="CheckIn Workflow" ma:internalName="CheckIn_x0020_Workflow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14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yeak" ma:index="17" nillable="true" ma:displayName="Description" ma:internalName="yeak">
      <xsd:simpleType>
        <xsd:restriction base="dms:Text"/>
      </xsd:simpleType>
    </xsd:element>
    <xsd:element name="MediaServiceAutoTags" ma:index="18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9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2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CEABEC3-CF50-4137-8CAB-5828584C9353}">
  <ds:schemaRefs>
    <ds:schemaRef ds:uri="a60e5538-65d5-40b2-995c-731e9579326c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58efb1c5-837f-45ae-93da-6370a20ee6c7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9BE79C3-D0DC-44D4-A699-D6481C1DA4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efb1c5-837f-45ae-93da-6370a20ee6c7"/>
    <ds:schemaRef ds:uri="a60e5538-65d5-40b2-995c-731e9579326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01AF671-19C8-489E-A19F-04619A2A771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46</TotalTime>
  <Words>7212</Words>
  <Application>Microsoft Office PowerPoint</Application>
  <PresentationFormat>Širokoúhlá obrazovka</PresentationFormat>
  <Paragraphs>1157</Paragraphs>
  <Slides>26</Slides>
  <Notes>15</Notes>
  <HiddenSlides>0</HiddenSlides>
  <MMClips>0</MMClips>
  <ScaleCrop>false</ScaleCrop>
  <HeadingPairs>
    <vt:vector size="8" baseType="variant">
      <vt:variant>
        <vt:lpstr>Použitá písma</vt:lpstr>
      </vt:variant>
      <vt:variant>
        <vt:i4>12</vt:i4>
      </vt:variant>
      <vt:variant>
        <vt:lpstr>Motiv</vt:lpstr>
      </vt:variant>
      <vt:variant>
        <vt:i4>4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26</vt:i4>
      </vt:variant>
    </vt:vector>
  </HeadingPairs>
  <TitlesOfParts>
    <vt:vector size="43" baseType="lpstr">
      <vt:lpstr>ＭＳ Ｐゴシック</vt:lpstr>
      <vt:lpstr>ＭＳ Ｐゴシック</vt:lpstr>
      <vt:lpstr>Arial</vt:lpstr>
      <vt:lpstr>Arial Narrow</vt:lpstr>
      <vt:lpstr>Batang</vt:lpstr>
      <vt:lpstr>Calibri</vt:lpstr>
      <vt:lpstr>Imago</vt:lpstr>
      <vt:lpstr>Imago-Medium</vt:lpstr>
      <vt:lpstr>Minion</vt:lpstr>
      <vt:lpstr>MS ??</vt:lpstr>
      <vt:lpstr>Times New Roman</vt:lpstr>
      <vt:lpstr>Wingdings</vt:lpstr>
      <vt:lpstr>Start</vt:lpstr>
      <vt:lpstr>2_Roche</vt:lpstr>
      <vt:lpstr>Office Theme</vt:lpstr>
      <vt:lpstr>Template for Roche ESMO October 2018</vt:lpstr>
      <vt:lpstr>think-cell Slide</vt:lpstr>
      <vt:lpstr>Protinádorová imunoterapie  v léčbě triple negativního karcinomu prsu   IMpassion130 </vt:lpstr>
      <vt:lpstr>Design studie IMpassion1301</vt:lpstr>
      <vt:lpstr>Design studie IMpassion1301</vt:lpstr>
      <vt:lpstr>Vstupní charakteristiky studie IMpassion1301</vt:lpstr>
      <vt:lpstr>Algoritmus hodnocení ve studii IMpassion130 při použití testu  Ventana SP142 a hodnocení PD-L1 na imunitních buňkách1,2</vt:lpstr>
      <vt:lpstr>Prodloužení PFS na 7,2 měsíce u ITT populace1</vt:lpstr>
      <vt:lpstr>Prodloužení PFS na 7,5 měsíce u PD-L1+ populace1</vt:lpstr>
      <vt:lpstr>Četnost odpovědí ve studii IMpassion130 (data z primární analýzy)1,2 </vt:lpstr>
      <vt:lpstr>PFS analýza dle podskupin : ITT populace 1,2</vt:lpstr>
      <vt:lpstr>Dispozice pacientů ve finální analýze</vt:lpstr>
      <vt:lpstr>Finální analýza Prodloužení OS na 21 měsíců u ITT populace</vt:lpstr>
      <vt:lpstr>Finální analýza Prodloužení OS u PD-L1+ populace</vt:lpstr>
      <vt:lpstr>Finální analýza Porovnání OS v PD-L1+ a PD-L1− populaci</vt:lpstr>
      <vt:lpstr>Finální analýza- Porovnání OS v podskupinách pacientů</vt:lpstr>
      <vt:lpstr>Finální analýza- IMpassion130 bezpečnostní data</vt:lpstr>
      <vt:lpstr>Finální analýza- Nejčastější nežádoucí účinky- incidence ≥ 20% </vt:lpstr>
      <vt:lpstr>Finální analýza- Imunitně podmíněné nežádoucí účinky</vt:lpstr>
      <vt:lpstr>Závěry</vt:lpstr>
      <vt:lpstr>IMpassion130 - exploratorní post hoc analýza</vt:lpstr>
      <vt:lpstr>PD-L1 status:  primární tkáň vs metastáza1 </vt:lpstr>
      <vt:lpstr>PD-L1 IHC testy: prevalence a analytická konkordance1</vt:lpstr>
      <vt:lpstr>Klinické výsledky u PD-L1+ populace dle testů SP142 (IC 1%),  22C3 (CPS 1) a SP263 (IC 1%) 1</vt:lpstr>
      <vt:lpstr>Klinické výsledky u BEP (biomarker-evaluable population)                  subpopulace dle SP142 (IC 1%) a 22C3 (CPS 1) 1</vt:lpstr>
      <vt:lpstr>Klinické výsledky u BEP subpopulace                                                                dle SP142 (IC 1%) a SP263 (IC 1%) 1</vt:lpstr>
      <vt:lpstr>Závěry</vt:lpstr>
      <vt:lpstr>Prezentace aplikac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TECENTRIQ Winning Model</dc:title>
  <dc:creator>Nwokenna, Ola</dc:creator>
  <cp:lastModifiedBy>Novakova, Lenka {MWJC~PRAGUE}</cp:lastModifiedBy>
  <cp:revision>438</cp:revision>
  <cp:lastPrinted>2020-02-06T09:24:17Z</cp:lastPrinted>
  <dcterms:created xsi:type="dcterms:W3CDTF">2019-05-28T10:37:07Z</dcterms:created>
  <dcterms:modified xsi:type="dcterms:W3CDTF">2024-01-29T08:33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1179F2CDC03045B7E27BFA7E2C1985</vt:lpwstr>
  </property>
</Properties>
</file>